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58" r:id="rId6"/>
  </p:sldMasterIdLst>
  <p:notesMasterIdLst>
    <p:notesMasterId r:id="rId33"/>
  </p:notesMasterIdLst>
  <p:handoutMasterIdLst>
    <p:handoutMasterId r:id="rId34"/>
  </p:handoutMasterIdLst>
  <p:sldIdLst>
    <p:sldId id="1396" r:id="rId7"/>
    <p:sldId id="1397" r:id="rId8"/>
    <p:sldId id="1394" r:id="rId9"/>
    <p:sldId id="1404" r:id="rId10"/>
    <p:sldId id="1416" r:id="rId11"/>
    <p:sldId id="1366" r:id="rId12"/>
    <p:sldId id="1368" r:id="rId13"/>
    <p:sldId id="1413" r:id="rId14"/>
    <p:sldId id="1414" r:id="rId15"/>
    <p:sldId id="1405" r:id="rId16"/>
    <p:sldId id="1406" r:id="rId17"/>
    <p:sldId id="1407" r:id="rId18"/>
    <p:sldId id="1408" r:id="rId19"/>
    <p:sldId id="1409" r:id="rId20"/>
    <p:sldId id="1410" r:id="rId21"/>
    <p:sldId id="1411" r:id="rId22"/>
    <p:sldId id="1370" r:id="rId23"/>
    <p:sldId id="1415" r:id="rId24"/>
    <p:sldId id="1412" r:id="rId25"/>
    <p:sldId id="1372" r:id="rId26"/>
    <p:sldId id="1393" r:id="rId27"/>
    <p:sldId id="1400" r:id="rId28"/>
    <p:sldId id="1398" r:id="rId29"/>
    <p:sldId id="1399" r:id="rId30"/>
    <p:sldId id="1417" r:id="rId31"/>
    <p:sldId id="1326" r:id="rId32"/>
  </p:sldIdLst>
  <p:sldSz cx="12436475" cy="6994525"/>
  <p:notesSz cx="7315200" cy="9601200"/>
  <p:defaultTextStyle>
    <a:defPPr>
      <a:defRPr lang="en-US"/>
    </a:defPPr>
    <a:lvl1pPr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eaLnBrk="0" fontAlgn="base" hangingPunct="0">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rat Sandhu" initials="BS" lastIdx="9" clrIdx="0">
    <p:extLst>
      <p:ext uri="{19B8F6BF-5375-455C-9EA6-DF929625EA0E}">
        <p15:presenceInfo xmlns:p15="http://schemas.microsoft.com/office/powerpoint/2012/main" userId="S-1-5-21-124525095-708259637-1543119021-9154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3C"/>
    <a:srgbClr val="00188F"/>
    <a:srgbClr val="002050"/>
    <a:srgbClr val="505050"/>
    <a:srgbClr val="59B4D9"/>
    <a:srgbClr val="B9D80A"/>
    <a:srgbClr val="3E3E3E"/>
    <a:srgbClr val="7B7A7A"/>
    <a:srgbClr val="7AC3E1"/>
    <a:srgbClr val="FFD7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763" autoAdjust="0"/>
  </p:normalViewPr>
  <p:slideViewPr>
    <p:cSldViewPr>
      <p:cViewPr varScale="1">
        <p:scale>
          <a:sx n="97" d="100"/>
          <a:sy n="97" d="100"/>
        </p:scale>
        <p:origin x="96" y="72"/>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3" d="100"/>
          <a:sy n="83" d="100"/>
        </p:scale>
        <p:origin x="3852" y="96"/>
      </p:cViewPr>
      <p:guideLst>
        <p:guide orient="horz" pos="3024"/>
        <p:guide pos="2304"/>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668"/>
            <a:ext cx="3169920" cy="480061"/>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7" name="Date Placeholder 6"/>
          <p:cNvSpPr>
            <a:spLocks noGrp="1"/>
          </p:cNvSpPr>
          <p:nvPr>
            <p:ph type="dt" sz="quarter"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B74FFB76-0B8A-4C65-A0EF-520F6A661B81}" type="datetime8">
              <a:rPr lang="en-US" altLang="en-US"/>
              <a:pPr>
                <a:defRPr/>
              </a:pPr>
              <a:t>6/7/2017 9:54 AM</a:t>
            </a:fld>
            <a:endParaRPr lang="en-US" altLang="en-US"/>
          </a:p>
        </p:txBody>
      </p:sp>
      <p:sp>
        <p:nvSpPr>
          <p:cNvPr id="8" name="Footer Placeholder 7"/>
          <p:cNvSpPr>
            <a:spLocks noGrp="1"/>
          </p:cNvSpPr>
          <p:nvPr>
            <p:ph type="ftr" sz="quarter" idx="2"/>
          </p:nvPr>
        </p:nvSpPr>
        <p:spPr>
          <a:xfrm>
            <a:off x="0" y="9119474"/>
            <a:ext cx="6180667" cy="348376"/>
          </a:xfrm>
          <a:prstGeom prst="rect">
            <a:avLst/>
          </a:prstGeom>
        </p:spPr>
        <p:txBody>
          <a:bodyPr vert="horz" wrap="square" lIns="96661" tIns="48331" rIns="96661" bIns="48331" numCol="1" anchor="b" anchorCtr="0" compatLnSpc="1">
            <a:prstTxWarp prst="textNoShape">
              <a:avLst/>
            </a:prstTxWarp>
          </a:bodyPr>
          <a:lstStyle>
            <a:lvl1pPr marL="421215"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6168814" y="9119474"/>
            <a:ext cx="1144693"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7DBAE618-56C7-4732-A3DF-8554701DB396}" type="slidenum">
              <a:rPr lang="en-US" altLang="en-US"/>
              <a:pPr>
                <a:defRPr/>
              </a:pPr>
              <a:t>‹#›</a:t>
            </a:fld>
            <a:endParaRPr lang="en-US" altLang="en-US"/>
          </a:p>
        </p:txBody>
      </p:sp>
    </p:spTree>
    <p:extLst>
      <p:ext uri="{BB962C8B-B14F-4D97-AF65-F5344CB8AC3E}">
        <p14:creationId xmlns:p14="http://schemas.microsoft.com/office/powerpoint/2010/main" val="44186837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169920" cy="480060"/>
          </a:xfrm>
          <a:prstGeom prst="rect">
            <a:avLst/>
          </a:prstGeom>
        </p:spPr>
        <p:txBody>
          <a:bodyPr vert="horz" lIns="96661" tIns="48331" rIns="96661" bIns="48331" rtlCol="0"/>
          <a:lstStyle>
            <a:lvl1pPr algn="l" defTabSz="986002" eaLnBrk="1" fontAlgn="auto" hangingPunct="1">
              <a:spcBef>
                <a:spcPts val="0"/>
              </a:spcBef>
              <a:spcAft>
                <a:spcPts val="0"/>
              </a:spcAft>
              <a:defRPr sz="1300">
                <a:latin typeface="Segoe UI" pitchFamily="34" charset="0"/>
                <a:ea typeface="+mn-ea"/>
                <a:cs typeface="+mn-cs"/>
              </a:defRPr>
            </a:lvl1pPr>
          </a:lstStyle>
          <a:p>
            <a:pPr>
              <a:defRPr/>
            </a:pPr>
            <a:endParaRPr lang="en-US"/>
          </a:p>
        </p:txBody>
      </p:sp>
      <p:sp>
        <p:nvSpPr>
          <p:cNvPr id="9" name="Slide Image Placeholder 8"/>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pPr lvl="0"/>
            <a:endParaRPr lang="en-US" noProof="0" dirty="0"/>
          </a:p>
        </p:txBody>
      </p:sp>
      <p:sp>
        <p:nvSpPr>
          <p:cNvPr id="10" name="Footer Placeholder 9"/>
          <p:cNvSpPr>
            <a:spLocks noGrp="1"/>
          </p:cNvSpPr>
          <p:nvPr>
            <p:ph type="ftr" sz="quarter" idx="4"/>
          </p:nvPr>
        </p:nvSpPr>
        <p:spPr>
          <a:xfrm>
            <a:off x="1" y="9121140"/>
            <a:ext cx="6316133" cy="373380"/>
          </a:xfrm>
          <a:prstGeom prst="rect">
            <a:avLst/>
          </a:prstGeom>
        </p:spPr>
        <p:txBody>
          <a:bodyPr vert="horz" wrap="square" lIns="96661" tIns="48331" rIns="96661" bIns="48331" numCol="1" anchor="b" anchorCtr="0" compatLnSpc="1">
            <a:prstTxWarp prst="textNoShape">
              <a:avLst/>
            </a:prstTxWarp>
          </a:bodyPr>
          <a:lstStyle>
            <a:lvl1pPr marL="604133" defTabSz="964935" eaLnBrk="0" hangingPunct="0">
              <a:defRPr sz="400">
                <a:cs typeface="Segoe UI" panose="020B0502040204020203" pitchFamily="34" charset="0"/>
              </a:defRPr>
            </a:lvl1pPr>
          </a:lstStyle>
          <a:p>
            <a:pPr>
              <a:defRPr/>
            </a:pPr>
            <a:r>
              <a:rPr lang="en-US" altLang="en-US"/>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4143587" y="0"/>
            <a:ext cx="3169920" cy="480060"/>
          </a:xfrm>
          <a:prstGeom prst="rect">
            <a:avLst/>
          </a:prstGeom>
        </p:spPr>
        <p:txBody>
          <a:bodyPr vert="horz" wrap="square" lIns="96661" tIns="48331" rIns="96661" bIns="48331" numCol="1" anchor="t" anchorCtr="0" compatLnSpc="1">
            <a:prstTxWarp prst="textNoShape">
              <a:avLst/>
            </a:prstTxWarp>
          </a:bodyPr>
          <a:lstStyle>
            <a:lvl1pPr algn="r" eaLnBrk="1" hangingPunct="1">
              <a:defRPr sz="1300"/>
            </a:lvl1pPr>
          </a:lstStyle>
          <a:p>
            <a:pPr>
              <a:defRPr/>
            </a:pPr>
            <a:fld id="{DE598D99-56EC-44B0-A1F1-DED5A5FDAEC8}" type="datetime8">
              <a:rPr lang="en-US" altLang="en-US"/>
              <a:pPr>
                <a:defRPr/>
              </a:pPr>
              <a:t>6/7/2017 9:54 AM</a:t>
            </a:fld>
            <a:endParaRPr lang="en-US" altLang="en-US"/>
          </a:p>
        </p:txBody>
      </p:sp>
      <p:sp>
        <p:nvSpPr>
          <p:cNvPr id="12" name="Notes Placeholder 11"/>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2"/>
          <p:cNvSpPr>
            <a:spLocks noGrp="1"/>
          </p:cNvSpPr>
          <p:nvPr>
            <p:ph type="sldNum" sz="quarter" idx="5"/>
          </p:nvPr>
        </p:nvSpPr>
        <p:spPr>
          <a:xfrm>
            <a:off x="6302586" y="9119474"/>
            <a:ext cx="1010921" cy="480060"/>
          </a:xfrm>
          <a:prstGeom prst="rect">
            <a:avLst/>
          </a:prstGeom>
        </p:spPr>
        <p:txBody>
          <a:bodyPr vert="horz" wrap="square" lIns="96661" tIns="48331" rIns="96661" bIns="48331" numCol="1" anchor="b" anchorCtr="0" compatLnSpc="1">
            <a:prstTxWarp prst="textNoShape">
              <a:avLst/>
            </a:prstTxWarp>
          </a:bodyPr>
          <a:lstStyle>
            <a:lvl1pPr algn="r" eaLnBrk="1" hangingPunct="1">
              <a:defRPr sz="1300"/>
            </a:lvl1pPr>
          </a:lstStyle>
          <a:p>
            <a:pPr>
              <a:defRPr/>
            </a:pPr>
            <a:fld id="{AE0CBDBD-C344-44AE-A370-0846076D6E08}" type="slidenum">
              <a:rPr lang="en-US" altLang="en-US"/>
              <a:pPr>
                <a:defRPr/>
              </a:pPr>
              <a:t>‹#›</a:t>
            </a:fld>
            <a:endParaRPr lang="en-US" altLang="en-US"/>
          </a:p>
        </p:txBody>
      </p:sp>
    </p:spTree>
    <p:extLst>
      <p:ext uri="{BB962C8B-B14F-4D97-AF65-F5344CB8AC3E}">
        <p14:creationId xmlns:p14="http://schemas.microsoft.com/office/powerpoint/2010/main" val="1837190840"/>
      </p:ext>
    </p:extLst>
  </p:cSld>
  <p:clrMap bg1="lt1" tx1="dk1" bg2="lt2" tx2="dk2" accent1="accent1" accent2="accent2" accent3="accent3" accent4="accent4" accent5="accent5" accent6="accent6" hlink="hlink" folHlink="folHlink"/>
  <p:hf/>
  <p:notesStyle>
    <a:lvl1pPr algn="l" defTabSz="931863" rtl="0" eaLnBrk="0" fontAlgn="base" hangingPunct="0">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ＭＳ Ｐゴシック" charset="0"/>
      </a:defRPr>
    </a:lvl1pPr>
    <a:lvl2pPr marL="215900" indent="-107950"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eaLnBrk="0" fontAlgn="base" hangingPunct="0">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a:t>
            </a:fld>
            <a:endParaRPr lang="en-US" altLang="en-US"/>
          </a:p>
        </p:txBody>
      </p:sp>
    </p:spTree>
    <p:extLst>
      <p:ext uri="{BB962C8B-B14F-4D97-AF65-F5344CB8AC3E}">
        <p14:creationId xmlns:p14="http://schemas.microsoft.com/office/powerpoint/2010/main" val="2886773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0</a:t>
            </a:fld>
            <a:endParaRPr lang="en-US" altLang="en-US"/>
          </a:p>
        </p:txBody>
      </p:sp>
    </p:spTree>
    <p:extLst>
      <p:ext uri="{BB962C8B-B14F-4D97-AF65-F5344CB8AC3E}">
        <p14:creationId xmlns:p14="http://schemas.microsoft.com/office/powerpoint/2010/main" val="3824557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1</a:t>
            </a:fld>
            <a:endParaRPr lang="en-US" altLang="en-US"/>
          </a:p>
        </p:txBody>
      </p:sp>
    </p:spTree>
    <p:extLst>
      <p:ext uri="{BB962C8B-B14F-4D97-AF65-F5344CB8AC3E}">
        <p14:creationId xmlns:p14="http://schemas.microsoft.com/office/powerpoint/2010/main" val="2330278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Reboo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informs the device through a direct method that it has initiated a reboot. The device uses the reported properties to update the reboot status of the devic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2</a:t>
            </a:fld>
            <a:endParaRPr lang="en-US" altLang="en-US"/>
          </a:p>
        </p:txBody>
      </p:sp>
    </p:spTree>
    <p:extLst>
      <p:ext uri="{BB962C8B-B14F-4D97-AF65-F5344CB8AC3E}">
        <p14:creationId xmlns:p14="http://schemas.microsoft.com/office/powerpoint/2010/main" val="2204773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Factory Reset</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informs the device through a direct method that it has initiated a factory reset. The device uses the reported properties to update the factory reset status of the device.</a:t>
            </a:r>
          </a:p>
          <a:p>
            <a:br>
              <a:rPr lang="en-US" dirty="0"/>
            </a:b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3</a:t>
            </a:fld>
            <a:endParaRPr lang="en-US" altLang="en-US"/>
          </a:p>
        </p:txBody>
      </p:sp>
    </p:spTree>
    <p:extLst>
      <p:ext uri="{BB962C8B-B14F-4D97-AF65-F5344CB8AC3E}">
        <p14:creationId xmlns:p14="http://schemas.microsoft.com/office/powerpoint/2010/main" val="3115651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S PGothic" panose="020B0600070205080204" pitchFamily="34" charset="-128"/>
                <a:cs typeface="ＭＳ Ｐゴシック" charset="0"/>
              </a:rPr>
              <a:t>Configuration</a:t>
            </a:r>
            <a:r>
              <a:rPr lang="en-US" sz="900" b="0" i="0" kern="1200" dirty="0">
                <a:solidFill>
                  <a:schemeClr val="tx1"/>
                </a:solidFill>
                <a:effectLst/>
                <a:latin typeface="Segoe UI Light" pitchFamily="34" charset="0"/>
                <a:ea typeface="MS PGothic" panose="020B0600070205080204" pitchFamily="34" charset="-128"/>
                <a:cs typeface="ＭＳ Ｐゴシック" charset="0"/>
              </a:rPr>
              <a:t> - The back-end app uses the desired properties to configure software running on the device. The device uses the reported properties to update configuration status of the device.</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4</a:t>
            </a:fld>
            <a:endParaRPr lang="en-US" altLang="en-US"/>
          </a:p>
        </p:txBody>
      </p:sp>
    </p:spTree>
    <p:extLst>
      <p:ext uri="{BB962C8B-B14F-4D97-AF65-F5344CB8AC3E}">
        <p14:creationId xmlns:p14="http://schemas.microsoft.com/office/powerpoint/2010/main" val="31098602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5</a:t>
            </a:fld>
            <a:endParaRPr lang="en-US" altLang="en-US"/>
          </a:p>
        </p:txBody>
      </p:sp>
    </p:spTree>
    <p:extLst>
      <p:ext uri="{BB962C8B-B14F-4D97-AF65-F5344CB8AC3E}">
        <p14:creationId xmlns:p14="http://schemas.microsoft.com/office/powerpoint/2010/main" val="3432297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6</a:t>
            </a:fld>
            <a:endParaRPr lang="en-US" altLang="en-US"/>
          </a:p>
        </p:txBody>
      </p:sp>
    </p:spTree>
    <p:extLst>
      <p:ext uri="{BB962C8B-B14F-4D97-AF65-F5344CB8AC3E}">
        <p14:creationId xmlns:p14="http://schemas.microsoft.com/office/powerpoint/2010/main" val="26254016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When you provision an IoT Hub from the Azure</a:t>
            </a:r>
            <a:r>
              <a:rPr lang="en-US" baseline="0" dirty="0"/>
              <a:t> Management portal, you will create your own instance of IoT Hub.  This instance</a:t>
            </a:r>
            <a:r>
              <a:rPr lang="en-US" dirty="0"/>
              <a:t> exposes a set of conceptual endpoints to access its functionalities.</a:t>
            </a:r>
          </a:p>
          <a:p>
            <a:endParaRPr lang="en-US" dirty="0"/>
          </a:p>
          <a:p>
            <a:r>
              <a:rPr lang="en-US" dirty="0"/>
              <a:t>There</a:t>
            </a:r>
            <a:r>
              <a:rPr lang="en-US" baseline="0" dirty="0"/>
              <a:t> are two endpoints for each device: one to send D2C </a:t>
            </a:r>
            <a:r>
              <a:rPr lang="en-US" baseline="0" dirty="0" err="1"/>
              <a:t>msgs</a:t>
            </a:r>
            <a:r>
              <a:rPr lang="en-US" baseline="0" dirty="0"/>
              <a:t>, one to receive C2D </a:t>
            </a:r>
            <a:r>
              <a:rPr lang="en-US" baseline="0" dirty="0" err="1"/>
              <a:t>msgs</a:t>
            </a:r>
            <a:r>
              <a:rPr lang="en-US" baseline="0" dirty="0"/>
              <a:t>.</a:t>
            </a:r>
          </a:p>
          <a:p>
            <a:r>
              <a:rPr lang="en-US" baseline="0" dirty="0"/>
              <a:t>Devices can connect two both endpoints over the same connection.</a:t>
            </a:r>
          </a:p>
          <a:p>
            <a:endParaRPr lang="en-US" baseline="0" dirty="0"/>
          </a:p>
          <a:p>
            <a:r>
              <a:rPr lang="en-US" baseline="0" dirty="0"/>
              <a:t>Field Gateways and Cloud Gateways are able to represent multiple devices by simultaneously connecting to D2C and C2D endpoints for many devices at the same time.</a:t>
            </a:r>
          </a:p>
          <a:p>
            <a:endParaRPr lang="en-US" baseline="0" dirty="0"/>
          </a:p>
          <a:p>
            <a:r>
              <a:rPr lang="en-US" baseline="0" dirty="0"/>
              <a:t>On the app back-end side, the D2C receive endpoint is used by the event processing pipeline (ASA, Storm, custom, …), and by the device runtime logic component, which handles requests and command responses that come from devices.</a:t>
            </a:r>
          </a:p>
          <a:p>
            <a:r>
              <a:rPr lang="en-US" baseline="0" dirty="0"/>
              <a:t>The device runtime logic component also uses the C2D send endpoint to send notifications and commands to devices.</a:t>
            </a:r>
          </a:p>
          <a:p>
            <a:r>
              <a:rPr lang="en-US" baseline="0" dirty="0"/>
              <a:t>It also uses the </a:t>
            </a:r>
            <a:r>
              <a:rPr lang="en-US" baseline="0" dirty="0" err="1"/>
              <a:t>msg</a:t>
            </a:r>
            <a:r>
              <a:rPr lang="en-US" baseline="0" dirty="0"/>
              <a:t> feedback and monitoring endpoint. This is critical for IoT solutions where devices are reachable only through IoT Hub. In these very common scenarios, any problem on the connectivity between device and IoT Hub cannot just be reported as errors back to the device, but also to the app back-end in the form of events on this feedback endpoint. This makes possible the kind of monitoring that is required to achieve high operability of an IoT solution.</a:t>
            </a:r>
          </a:p>
          <a:p>
            <a:endParaRPr lang="en-US" baseline="0" dirty="0"/>
          </a:p>
          <a:p>
            <a:r>
              <a:rPr lang="en-US" baseline="0" dirty="0"/>
              <a:t>In addition to these runtime endpoint, IoT Hub also has a device identity management endpoint that is used by your solution’s device provisioning and mgmt component.</a:t>
            </a:r>
          </a:p>
          <a:p>
            <a:endParaRPr lang="en-US" baseline="0" dirty="0"/>
          </a:p>
          <a:p>
            <a:r>
              <a:rPr lang="en-US" baseline="0" dirty="0"/>
              <a:t>Finally, an IoT Hub Manage endpoint is used to set security, functional, performance parameters.</a:t>
            </a:r>
          </a:p>
        </p:txBody>
      </p:sp>
      <p:sp>
        <p:nvSpPr>
          <p:cNvPr id="4" name="Header Placeholder 3"/>
          <p:cNvSpPr>
            <a:spLocks noGrp="1"/>
          </p:cNvSpPr>
          <p:nvPr>
            <p:ph type="hdr" sz="quarter" idx="10"/>
          </p:nvPr>
        </p:nvSpPr>
        <p:spPr/>
        <p:txBody>
          <a:bodyPr/>
          <a:lstStyle/>
          <a:p>
            <a:pPr>
              <a:defRPr/>
            </a:pPr>
            <a:r>
              <a:rPr lang="en-US">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9:54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17</a:t>
            </a:fld>
            <a:endParaRPr lang="en-US" dirty="0">
              <a:solidFill>
                <a:prstClr val="black"/>
              </a:solidFill>
              <a:ea typeface="+mn-ea"/>
            </a:endParaRPr>
          </a:p>
        </p:txBody>
      </p:sp>
    </p:spTree>
    <p:extLst>
      <p:ext uri="{BB962C8B-B14F-4D97-AF65-F5344CB8AC3E}">
        <p14:creationId xmlns:p14="http://schemas.microsoft.com/office/powerpoint/2010/main" val="3827545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0:21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8</a:t>
            </a:fld>
            <a:endParaRPr lang="en-US" altLang="en-US"/>
          </a:p>
        </p:txBody>
      </p:sp>
    </p:spTree>
    <p:extLst>
      <p:ext uri="{BB962C8B-B14F-4D97-AF65-F5344CB8AC3E}">
        <p14:creationId xmlns:p14="http://schemas.microsoft.com/office/powerpoint/2010/main" val="2948874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072">
              <a:spcAft>
                <a:spcPts val="357"/>
              </a:spcAft>
              <a:defRPr/>
            </a:pPr>
            <a:r>
              <a:rPr lang="en-US" dirty="0"/>
              <a:t>IoT Hub provides a vast variety of SDKs for devices</a:t>
            </a:r>
            <a:r>
              <a:rPr lang="en-US" baseline="0" dirty="0"/>
              <a:t> and services.  There are 2 different flavors – ones that are device facing and target at device and field gateways. These provide the best variety for platforms and languages.  The there are ones that are service facing and targeted at application back ends and cloud gateways and support many languages.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10:06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19</a:t>
            </a:fld>
            <a:endParaRPr lang="en-US" altLang="en-US"/>
          </a:p>
        </p:txBody>
      </p:sp>
    </p:spTree>
    <p:extLst>
      <p:ext uri="{BB962C8B-B14F-4D97-AF65-F5344CB8AC3E}">
        <p14:creationId xmlns:p14="http://schemas.microsoft.com/office/powerpoint/2010/main" val="1779246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Microsoft Azure IoT Suite offers a solution to three key pillars;</a:t>
            </a:r>
          </a:p>
          <a:p>
            <a:endParaRPr lang="en-US" baseline="0" dirty="0"/>
          </a:p>
          <a:p>
            <a:pPr marL="242910" indent="-242910">
              <a:buFont typeface="Arial" panose="020B0604020202020204" pitchFamily="34" charset="0"/>
              <a:buAutoNum type="arabicParenR"/>
            </a:pPr>
            <a:r>
              <a:rPr lang="en-US" baseline="0" dirty="0"/>
              <a:t>Connect and scale with efficiency</a:t>
            </a:r>
          </a:p>
          <a:p>
            <a:pPr marL="728729" lvl="1" indent="-242910">
              <a:buFont typeface="Arial" panose="020B0604020202020204" pitchFamily="34" charset="0"/>
              <a:buAutoNum type="alphaLcParenR"/>
            </a:pPr>
            <a:r>
              <a:rPr lang="en-US" baseline="0" dirty="0"/>
              <a:t>Preconfigured solutions offer quick start-up provisioning to the most common IoT scenario requirements. </a:t>
            </a:r>
          </a:p>
          <a:p>
            <a:pPr marL="728729" lvl="1" indent="-242910">
              <a:buFont typeface="Arial" panose="020B0604020202020204" pitchFamily="34" charset="0"/>
              <a:buAutoNum type="alphaLcParenR"/>
            </a:pPr>
            <a:r>
              <a:rPr lang="en-US" baseline="0" dirty="0"/>
              <a:t>Heterogeneous agents libraries, documentation and SDK’s allow for OS selection and cross platform, multi language support. Easily flash devices and create custom agents using open source libraries. </a:t>
            </a:r>
          </a:p>
          <a:p>
            <a:pPr marL="728729" lvl="1" indent="-242910">
              <a:buFont typeface="Arial" panose="020B0604020202020204" pitchFamily="34" charset="0"/>
              <a:buAutoNum type="alphaLcParenR"/>
            </a:pPr>
            <a:r>
              <a:rPr lang="en-US" baseline="0" dirty="0"/>
              <a:t>Connect and control devices easily, handling device authentication and secure two way communication. </a:t>
            </a:r>
          </a:p>
          <a:p>
            <a:pPr marL="242910" indent="-242910">
              <a:buFont typeface="Arial" panose="020B0604020202020204" pitchFamily="34" charset="0"/>
              <a:buAutoNum type="arabicParenR"/>
            </a:pPr>
            <a:endParaRPr lang="en-US" baseline="0" dirty="0"/>
          </a:p>
          <a:p>
            <a:pPr marL="242910" indent="-242910">
              <a:buFont typeface="Arial" panose="020B0604020202020204" pitchFamily="34" charset="0"/>
              <a:buAutoNum type="arabicParenR"/>
            </a:pPr>
            <a:r>
              <a:rPr lang="en-US" baseline="0" dirty="0"/>
              <a:t>Analyze and act on new data</a:t>
            </a:r>
          </a:p>
          <a:p>
            <a:pPr marL="728729" lvl="1" indent="-242910">
              <a:buFont typeface="Arial" panose="020B0604020202020204" pitchFamily="34" charset="0"/>
              <a:buAutoNum type="alphaLcParenR"/>
            </a:pPr>
            <a:r>
              <a:rPr lang="en-US" baseline="0" dirty="0"/>
              <a:t>Set thresholds, alert limits and values and alarm jobs while processing big data. </a:t>
            </a:r>
          </a:p>
          <a:p>
            <a:pPr marL="728729" lvl="1" indent="-242910">
              <a:buFont typeface="Arial" panose="020B0604020202020204" pitchFamily="34" charset="0"/>
              <a:buAutoNum type="alphaLcParenR"/>
            </a:pPr>
            <a:r>
              <a:rPr lang="en-US" baseline="0" dirty="0"/>
              <a:t>Implement predictive analytics and algorithms across historical and real time data for a variety of purposes. </a:t>
            </a:r>
          </a:p>
          <a:p>
            <a:pPr marL="728729" lvl="1" indent="-242910">
              <a:buFont typeface="Arial" panose="020B0604020202020204" pitchFamily="34" charset="0"/>
              <a:buAutoNum type="alphaLcParenR"/>
            </a:pPr>
            <a:r>
              <a:rPr lang="en-US" baseline="0" dirty="0"/>
              <a:t>Visualize big data on dashboards or create reports for business decision makers. </a:t>
            </a:r>
          </a:p>
          <a:p>
            <a:pPr marL="728729" lvl="1" indent="-242910">
              <a:buFont typeface="Arial" panose="020B0604020202020204" pitchFamily="34" charset="0"/>
              <a:buAutoNum type="arabicParenR"/>
            </a:pPr>
            <a:endParaRPr lang="en-US" baseline="0" dirty="0"/>
          </a:p>
          <a:p>
            <a:pPr marL="242910" indent="-242910">
              <a:buFont typeface="Arial" panose="020B0604020202020204" pitchFamily="34" charset="0"/>
              <a:buAutoNum type="arabicParenR"/>
            </a:pPr>
            <a:r>
              <a:rPr lang="en-US" baseline="0" dirty="0"/>
              <a:t>Integrate and transform business processes </a:t>
            </a:r>
          </a:p>
          <a:p>
            <a:pPr marL="728729" lvl="1" indent="-242910">
              <a:buFont typeface="Arial" panose="020B0604020202020204" pitchFamily="34" charset="0"/>
              <a:buAutoNum type="alphaLcParenR"/>
            </a:pPr>
            <a:r>
              <a:rPr lang="en-US" baseline="0" dirty="0"/>
              <a:t>Integrate alarms, real time processes and elevate attention within new or existing line of business applications.</a:t>
            </a:r>
          </a:p>
          <a:p>
            <a:pPr marL="728729" lvl="1" indent="-242910">
              <a:buFont typeface="Arial" panose="020B0604020202020204" pitchFamily="34" charset="0"/>
              <a:buAutoNum type="alphaLcParenR"/>
            </a:pPr>
            <a:r>
              <a:rPr lang="en-US" baseline="0" dirty="0"/>
              <a:t>Broadcast notifications and commands to devices or personnel; utilize geographic or other custom features to target audiences. </a:t>
            </a:r>
          </a:p>
          <a:p>
            <a:pPr marL="485819" lvl="1" indent="0">
              <a:buNone/>
            </a:pPr>
            <a:r>
              <a:rPr lang="en-US" baseline="0" dirty="0"/>
              <a:t>c) Make dashboards and data available but control security and access to devices, thresholds and alert configurations.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10:2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29289387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9:54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20</a:t>
            </a:fld>
            <a:endParaRPr lang="en-US" dirty="0">
              <a:solidFill>
                <a:prstClr val="black"/>
              </a:solidFill>
              <a:ea typeface="+mn-ea"/>
            </a:endParaRPr>
          </a:p>
        </p:txBody>
      </p:sp>
    </p:spTree>
    <p:extLst>
      <p:ext uri="{BB962C8B-B14F-4D97-AF65-F5344CB8AC3E}">
        <p14:creationId xmlns:p14="http://schemas.microsoft.com/office/powerpoint/2010/main" val="135605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IoT Hub supports millions</a:t>
            </a:r>
            <a:r>
              <a:rPr lang="en-US" baseline="0" dirty="0"/>
              <a:t> of simultaneously connected devices.  It supports per device authentication and identities which makes sure that your device connectivity is secured.  It supports high throughput device to cloud messaging and reliable cloud to device messaging and it was extensive support on the device and service SDKs.  </a:t>
            </a:r>
          </a:p>
          <a:p>
            <a:endParaRPr lang="en-US" baseline="0" dirty="0"/>
          </a:p>
          <a:p>
            <a:r>
              <a:rPr lang="en-US" baseline="0" dirty="0"/>
              <a:t>You can try Azure IoT Hub for free now on Azure.com.</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ltLang="en-US">
                <a:solidFill>
                  <a:prstClr val="black"/>
                </a:solidFill>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85072">
              <a:defRPr/>
            </a:pPr>
            <a:fld id="{DE598D99-56EC-44B0-A1F1-DED5A5FDAEC8}" type="datetime8">
              <a:rPr lang="en-US" altLang="en-US">
                <a:solidFill>
                  <a:prstClr val="black"/>
                </a:solidFill>
              </a:rPr>
              <a:pPr defTabSz="985072">
                <a:defRPr/>
              </a:pPr>
              <a:t>6/7/2017 9:54 AM</a:t>
            </a:fld>
            <a:endParaRPr lang="en-US" altLang="en-US">
              <a:solidFill>
                <a:prstClr val="black"/>
              </a:solidFill>
            </a:endParaRPr>
          </a:p>
        </p:txBody>
      </p:sp>
      <p:sp>
        <p:nvSpPr>
          <p:cNvPr id="7" name="Slide Number Placeholder 6"/>
          <p:cNvSpPr>
            <a:spLocks noGrp="1"/>
          </p:cNvSpPr>
          <p:nvPr>
            <p:ph type="sldNum" sz="quarter" idx="13"/>
          </p:nvPr>
        </p:nvSpPr>
        <p:spPr/>
        <p:txBody>
          <a:bodyPr/>
          <a:lstStyle/>
          <a:p>
            <a:pPr defTabSz="985072">
              <a:defRPr/>
            </a:pPr>
            <a:fld id="{AE0CBDBD-C344-44AE-A370-0846076D6E08}" type="slidenum">
              <a:rPr lang="en-US" altLang="en-US">
                <a:solidFill>
                  <a:prstClr val="black"/>
                </a:solidFill>
              </a:rPr>
              <a:pPr defTabSz="985072">
                <a:defRPr/>
              </a:pPr>
              <a:t>21</a:t>
            </a:fld>
            <a:endParaRPr lang="en-US" altLang="en-US">
              <a:solidFill>
                <a:prstClr val="black"/>
              </a:solidFill>
            </a:endParaRPr>
          </a:p>
        </p:txBody>
      </p:sp>
    </p:spTree>
    <p:extLst>
      <p:ext uri="{BB962C8B-B14F-4D97-AF65-F5344CB8AC3E}">
        <p14:creationId xmlns:p14="http://schemas.microsoft.com/office/powerpoint/2010/main" val="1409376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22</a:t>
            </a:fld>
            <a:endParaRPr lang="en-US" altLang="en-US"/>
          </a:p>
        </p:txBody>
      </p:sp>
    </p:spTree>
    <p:extLst>
      <p:ext uri="{BB962C8B-B14F-4D97-AF65-F5344CB8AC3E}">
        <p14:creationId xmlns:p14="http://schemas.microsoft.com/office/powerpoint/2010/main" val="1354100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How does it work? As mentioned; the solution is a combination of multiple back-end components. This architecture diagram shows the individual Microsoft products and services that are utilized. </a:t>
            </a:r>
          </a:p>
          <a:p>
            <a:endParaRPr lang="en-US" baseline="0"/>
          </a:p>
          <a:p>
            <a:r>
              <a:rPr lang="en-US" baseline="0"/>
              <a:t>Reference Architecture for Remote Monitoring solution, what products are used and why? -&gt;</a:t>
            </a:r>
          </a:p>
          <a:p>
            <a:endParaRPr lang="en-US" baseline="0"/>
          </a:p>
          <a:p>
            <a:pPr marL="182183" indent="-182183">
              <a:buFontTx/>
              <a:buChar char="-"/>
            </a:pPr>
            <a:r>
              <a:rPr lang="en-US" baseline="0"/>
              <a:t>Provision simulated devices with a C# device emulator running </a:t>
            </a:r>
            <a:r>
              <a:rPr lang="en-US" baseline="0" err="1"/>
              <a:t>.Net</a:t>
            </a:r>
            <a:r>
              <a:rPr lang="en-US" baseline="0"/>
              <a:t>. Create agents for Linux, iOS, Android and other platforms with C and Java language support. </a:t>
            </a:r>
          </a:p>
          <a:p>
            <a:pPr marL="182183" indent="-182183">
              <a:buFontTx/>
              <a:buChar char="-"/>
            </a:pPr>
            <a:endParaRPr lang="en-US" baseline="0"/>
          </a:p>
          <a:p>
            <a:pPr marL="182183" indent="-182183">
              <a:buFontTx/>
              <a:buChar char="-"/>
            </a:pPr>
            <a:r>
              <a:rPr lang="en-US" baseline="0"/>
              <a:t>IoT Hub manages the two way communication between cloud and device and creates a secure command and control channel. </a:t>
            </a:r>
          </a:p>
          <a:p>
            <a:pPr marL="182183" indent="-182183">
              <a:buFontTx/>
              <a:buChar char="-"/>
            </a:pPr>
            <a:endParaRPr lang="en-US" baseline="0"/>
          </a:p>
          <a:p>
            <a:pPr marL="182183" indent="-182183">
              <a:buFontTx/>
              <a:buChar char="-"/>
            </a:pPr>
            <a:r>
              <a:rPr lang="en-US" baseline="0"/>
              <a:t>Azure Stream Analytics creates and manages jobs to recognize threshold values or detect alarm triggers, sending this information where it needs to be escalated. </a:t>
            </a:r>
          </a:p>
          <a:p>
            <a:pPr marL="182183" indent="-182183">
              <a:buFontTx/>
              <a:buChar char="-"/>
            </a:pPr>
            <a:endParaRPr lang="en-US" baseline="0"/>
          </a:p>
          <a:p>
            <a:pPr marL="182183" indent="-182183">
              <a:buFontTx/>
              <a:buChar char="-"/>
            </a:pPr>
            <a:r>
              <a:rPr lang="en-US" baseline="0"/>
              <a:t>Event Hub is queried by a web job running an event processor host to determine </a:t>
            </a:r>
            <a:r>
              <a:rPr lang="en-US" i="1" baseline="0"/>
              <a:t>where</a:t>
            </a:r>
            <a:r>
              <a:rPr lang="en-US" i="0" baseline="0"/>
              <a:t> and alarm or alert needs to be pushed – such as sending an alert to dashboard for a human operator to take action. </a:t>
            </a:r>
          </a:p>
          <a:p>
            <a:pPr marL="182183" indent="-182183">
              <a:buFontTx/>
              <a:buChar char="-"/>
            </a:pPr>
            <a:endParaRPr lang="en-US" i="0" baseline="0"/>
          </a:p>
          <a:p>
            <a:pPr marL="182183" indent="-182183">
              <a:buFontTx/>
              <a:buChar char="-"/>
            </a:pPr>
            <a:r>
              <a:rPr lang="en-US" i="0" baseline="0"/>
              <a:t>Logic Apps are used to create more complex work loads and integrate into line of business and other proprietary applications. </a:t>
            </a:r>
          </a:p>
          <a:p>
            <a:pPr marL="182183" indent="-182183">
              <a:buFontTx/>
              <a:buChar char="-"/>
            </a:pPr>
            <a:endParaRPr lang="en-US" i="0" baseline="0"/>
          </a:p>
          <a:p>
            <a:pPr marL="182183" indent="-182183">
              <a:buFontTx/>
              <a:buChar char="-"/>
            </a:pPr>
            <a:r>
              <a:rPr lang="en-US" i="0" baseline="0"/>
              <a:t>Document DB stores all the metadata and device properties for each connected device. </a:t>
            </a:r>
          </a:p>
          <a:p>
            <a:pPr marL="182183" indent="-182183">
              <a:buFontTx/>
              <a:buChar char="-"/>
            </a:pPr>
            <a:endParaRPr lang="en-US" i="0" baseline="0"/>
          </a:p>
          <a:p>
            <a:pPr marL="182183" indent="-182183">
              <a:buFontTx/>
              <a:buChar char="-"/>
            </a:pPr>
            <a:r>
              <a:rPr lang="en-US" i="0" baseline="0"/>
              <a:t>Blobs store telemetry information and telemetry data. Other tools such as Azure Machine Learning and </a:t>
            </a:r>
            <a:r>
              <a:rPr lang="en-US" i="0" baseline="0" err="1"/>
              <a:t>PowerBI</a:t>
            </a:r>
            <a:r>
              <a:rPr lang="en-US" i="0" baseline="0"/>
              <a:t> can access this information for data visualization or processing advanced analytics. </a:t>
            </a:r>
          </a:p>
          <a:p>
            <a:pPr marL="182183" indent="-182183">
              <a:buFontTx/>
              <a:buChar char="-"/>
            </a:pPr>
            <a:endParaRPr lang="en-US" i="0" baseline="0"/>
          </a:p>
          <a:p>
            <a:pPr marL="182183" indent="-182183">
              <a:buFontTx/>
              <a:buChar char="-"/>
            </a:pPr>
            <a:r>
              <a:rPr lang="en-US" i="0" baseline="0" err="1"/>
              <a:t>Webapp</a:t>
            </a:r>
            <a:r>
              <a:rPr lang="en-US" i="0" baseline="0"/>
              <a:t> – Dashboard code is available in </a:t>
            </a:r>
            <a:r>
              <a:rPr lang="en-US" i="0" baseline="0" err="1"/>
              <a:t>Github</a:t>
            </a:r>
            <a:r>
              <a:rPr lang="en-US" i="0" baseline="0"/>
              <a:t> allowing it to be fully customized by the user to align with a scenario or be relevant for an enterprise application. </a:t>
            </a:r>
          </a:p>
          <a:p>
            <a:pPr marL="182183" indent="-182183">
              <a:buFontTx/>
              <a:buChar char="-"/>
            </a:pPr>
            <a:endParaRPr lang="en-US" i="0" baseline="0"/>
          </a:p>
          <a:p>
            <a:pPr marL="182183" indent="-182183">
              <a:buFontTx/>
              <a:buChar char="-"/>
            </a:pPr>
            <a:r>
              <a:rPr lang="en-US" i="0" baseline="0"/>
              <a:t>Azure Active Directory controls user ID’s and access, allowing the service to be shared with relevant decision makers within the business but restrict access to certain controls or devices. </a:t>
            </a:r>
          </a:p>
          <a:p>
            <a:pPr marL="182183" indent="-182183">
              <a:buFontTx/>
              <a:buChar char="-"/>
            </a:pPr>
            <a:endParaRPr lang="en-US" i="0" baseline="0"/>
          </a:p>
          <a:p>
            <a:pPr marL="182183" indent="-182183">
              <a:buFontTx/>
              <a:buChar char="-"/>
            </a:pPr>
            <a:r>
              <a:rPr lang="en-US" i="0" baseline="0" err="1"/>
              <a:t>PowerBI</a:t>
            </a:r>
            <a:r>
              <a:rPr lang="en-US" i="0" baseline="0"/>
              <a:t> is used for both open-source embedded components within the dashboard and also for complex external analytics of trends and patterns across all stored data. </a:t>
            </a:r>
            <a:endParaRPr lang="en-US" baseline="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9:5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939989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How does it work? As mentioned; the solution is a combination of multiple back-end components. This architecture diagram shows the individual Microsoft products and services that are utilized. </a:t>
            </a:r>
          </a:p>
          <a:p>
            <a:endParaRPr lang="en-US" baseline="0"/>
          </a:p>
          <a:p>
            <a:r>
              <a:rPr lang="en-US" baseline="0"/>
              <a:t>Reference Architecture for Remote Monitoring solution, what products are used and why? -&gt;</a:t>
            </a:r>
          </a:p>
          <a:p>
            <a:endParaRPr lang="en-US" baseline="0"/>
          </a:p>
          <a:p>
            <a:pPr marL="182183" indent="-182183">
              <a:buFontTx/>
              <a:buChar char="-"/>
            </a:pPr>
            <a:r>
              <a:rPr lang="en-US" baseline="0"/>
              <a:t>Provision simulated devices with a C# device emulator running </a:t>
            </a:r>
            <a:r>
              <a:rPr lang="en-US" baseline="0" err="1"/>
              <a:t>.Net</a:t>
            </a:r>
            <a:r>
              <a:rPr lang="en-US" baseline="0"/>
              <a:t>. Create agents for Linux, iOS, Android and other platforms with C and Java language support. </a:t>
            </a:r>
          </a:p>
          <a:p>
            <a:pPr marL="182183" indent="-182183">
              <a:buFontTx/>
              <a:buChar char="-"/>
            </a:pPr>
            <a:endParaRPr lang="en-US" baseline="0"/>
          </a:p>
          <a:p>
            <a:pPr marL="182183" indent="-182183">
              <a:buFontTx/>
              <a:buChar char="-"/>
            </a:pPr>
            <a:r>
              <a:rPr lang="en-US" baseline="0"/>
              <a:t>IoT Hub manages the two way communication between cloud and device and creates a secure command and control channel. </a:t>
            </a:r>
          </a:p>
          <a:p>
            <a:pPr marL="182183" indent="-182183">
              <a:buFontTx/>
              <a:buChar char="-"/>
            </a:pPr>
            <a:endParaRPr lang="en-US" baseline="0"/>
          </a:p>
          <a:p>
            <a:pPr marL="182183" indent="-182183">
              <a:buFontTx/>
              <a:buChar char="-"/>
            </a:pPr>
            <a:r>
              <a:rPr lang="en-US" baseline="0"/>
              <a:t>Azure Stream Analytics creates and manages jobs to recognize threshold values or detect alarm triggers, sending this information where it needs to be escalated. </a:t>
            </a:r>
          </a:p>
          <a:p>
            <a:pPr marL="182183" indent="-182183">
              <a:buFontTx/>
              <a:buChar char="-"/>
            </a:pPr>
            <a:endParaRPr lang="en-US" baseline="0"/>
          </a:p>
          <a:p>
            <a:pPr marL="182183" indent="-182183">
              <a:buFontTx/>
              <a:buChar char="-"/>
            </a:pPr>
            <a:r>
              <a:rPr lang="en-US" baseline="0"/>
              <a:t>Event Hub is queried by a web job running an event processor host to determine </a:t>
            </a:r>
            <a:r>
              <a:rPr lang="en-US" i="1" baseline="0"/>
              <a:t>where</a:t>
            </a:r>
            <a:r>
              <a:rPr lang="en-US" i="0" baseline="0"/>
              <a:t> and alarm or alert needs to be pushed – such as sending an alert to dashboard for a human operator to take action. </a:t>
            </a:r>
          </a:p>
          <a:p>
            <a:pPr marL="182183" indent="-182183">
              <a:buFontTx/>
              <a:buChar char="-"/>
            </a:pPr>
            <a:endParaRPr lang="en-US" i="0" baseline="0"/>
          </a:p>
          <a:p>
            <a:pPr marL="182183" indent="-182183">
              <a:buFontTx/>
              <a:buChar char="-"/>
            </a:pPr>
            <a:r>
              <a:rPr lang="en-US" i="0" baseline="0"/>
              <a:t>Logic Apps are used to create more complex work loads and integrate into line of business and other proprietary applications. </a:t>
            </a:r>
          </a:p>
          <a:p>
            <a:pPr marL="182183" indent="-182183">
              <a:buFontTx/>
              <a:buChar char="-"/>
            </a:pPr>
            <a:endParaRPr lang="en-US" i="0" baseline="0"/>
          </a:p>
          <a:p>
            <a:pPr marL="182183" indent="-182183">
              <a:buFontTx/>
              <a:buChar char="-"/>
            </a:pPr>
            <a:r>
              <a:rPr lang="en-US" i="0" baseline="0"/>
              <a:t>Document DB stores all the metadata and device properties for each connected device. </a:t>
            </a:r>
          </a:p>
          <a:p>
            <a:pPr marL="182183" indent="-182183">
              <a:buFontTx/>
              <a:buChar char="-"/>
            </a:pPr>
            <a:endParaRPr lang="en-US" i="0" baseline="0"/>
          </a:p>
          <a:p>
            <a:pPr marL="182183" indent="-182183">
              <a:buFontTx/>
              <a:buChar char="-"/>
            </a:pPr>
            <a:r>
              <a:rPr lang="en-US" i="0" baseline="0"/>
              <a:t>Blobs store telemetry information and telemetry data. Other tools such as Azure Machine Learning and </a:t>
            </a:r>
            <a:r>
              <a:rPr lang="en-US" i="0" baseline="0" err="1"/>
              <a:t>PowerBI</a:t>
            </a:r>
            <a:r>
              <a:rPr lang="en-US" i="0" baseline="0"/>
              <a:t> can access this information for data visualization or processing advanced analytics. </a:t>
            </a:r>
          </a:p>
          <a:p>
            <a:pPr marL="182183" indent="-182183">
              <a:buFontTx/>
              <a:buChar char="-"/>
            </a:pPr>
            <a:endParaRPr lang="en-US" i="0" baseline="0"/>
          </a:p>
          <a:p>
            <a:pPr marL="182183" indent="-182183">
              <a:buFontTx/>
              <a:buChar char="-"/>
            </a:pPr>
            <a:r>
              <a:rPr lang="en-US" i="0" baseline="0" err="1"/>
              <a:t>Webapp</a:t>
            </a:r>
            <a:r>
              <a:rPr lang="en-US" i="0" baseline="0"/>
              <a:t> – Dashboard code is available in </a:t>
            </a:r>
            <a:r>
              <a:rPr lang="en-US" i="0" baseline="0" err="1"/>
              <a:t>Github</a:t>
            </a:r>
            <a:r>
              <a:rPr lang="en-US" i="0" baseline="0"/>
              <a:t> allowing it to be fully customized by the user to align with a scenario or be relevant for an enterprise application. </a:t>
            </a:r>
          </a:p>
          <a:p>
            <a:pPr marL="182183" indent="-182183">
              <a:buFontTx/>
              <a:buChar char="-"/>
            </a:pPr>
            <a:endParaRPr lang="en-US" i="0" baseline="0"/>
          </a:p>
          <a:p>
            <a:pPr marL="182183" indent="-182183">
              <a:buFontTx/>
              <a:buChar char="-"/>
            </a:pPr>
            <a:r>
              <a:rPr lang="en-US" i="0" baseline="0"/>
              <a:t>Azure Active Directory controls user ID’s and access, allowing the service to be shared with relevant decision makers within the business but restrict access to certain controls or devices. </a:t>
            </a:r>
          </a:p>
          <a:p>
            <a:pPr marL="182183" indent="-182183">
              <a:buFontTx/>
              <a:buChar char="-"/>
            </a:pPr>
            <a:endParaRPr lang="en-US" i="0" baseline="0"/>
          </a:p>
          <a:p>
            <a:pPr marL="182183" indent="-182183">
              <a:buFontTx/>
              <a:buChar char="-"/>
            </a:pPr>
            <a:r>
              <a:rPr lang="en-US" i="0" baseline="0" err="1"/>
              <a:t>PowerBI</a:t>
            </a:r>
            <a:r>
              <a:rPr lang="en-US" i="0" baseline="0"/>
              <a:t> is used for both open-source embedded components within the dashboard and also for complex external analytics of trends and patterns across all stored data. </a:t>
            </a:r>
            <a:endParaRPr lang="en-US" baseline="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71318"/>
            <a:r>
              <a:rPr lang="en-US">
                <a:gradFill>
                  <a:gsLst>
                    <a:gs pos="0">
                      <a:prstClr val="black"/>
                    </a:gs>
                    <a:gs pos="100000">
                      <a:prstClr val="black"/>
                    </a:gs>
                  </a:gsLst>
                  <a:lin ang="5400000" scaled="0"/>
                </a:gradFill>
                <a:ea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6/7/2017 9:54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5917840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602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defTabSz="985072" fontAlgn="base">
              <a:lnSpc>
                <a:spcPct val="100000"/>
              </a:lnSpc>
              <a:spcBef>
                <a:spcPct val="0"/>
              </a:spcBef>
              <a:spcAft>
                <a:spcPct val="0"/>
              </a:spcAft>
            </a:pPr>
            <a:endParaRPr lang="en-US" altLang="en-US" sz="1300">
              <a:solidFill>
                <a:srgbClr val="000000"/>
              </a:solidFill>
              <a:latin typeface="Segoe UI" panose="020B0502040204020203" pitchFamily="34" charset="0"/>
            </a:endParaRPr>
          </a:p>
        </p:txBody>
      </p:sp>
      <p:sp>
        <p:nvSpPr>
          <p:cNvPr id="86021"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32DFE749-7D71-48C8-92C6-82258BA5A740}" type="datetime8">
              <a:rPr lang="en-US" altLang="en-US" sz="1300">
                <a:solidFill>
                  <a:srgbClr val="000000"/>
                </a:solidFill>
                <a:latin typeface="Segoe UI" panose="020B0502040204020203" pitchFamily="34" charset="0"/>
              </a:rPr>
              <a:pPr>
                <a:lnSpc>
                  <a:spcPct val="100000"/>
                </a:lnSpc>
                <a:spcBef>
                  <a:spcPct val="0"/>
                </a:spcBef>
                <a:spcAft>
                  <a:spcPct val="0"/>
                </a:spcAft>
              </a:pPr>
              <a:t>6/7/2017 9:54 AM</a:t>
            </a:fld>
            <a:endParaRPr lang="en-US" altLang="en-US" sz="1300">
              <a:solidFill>
                <a:srgbClr val="000000"/>
              </a:solidFill>
              <a:latin typeface="Segoe UI" panose="020B0502040204020203" pitchFamily="34" charset="0"/>
            </a:endParaRPr>
          </a:p>
        </p:txBody>
      </p:sp>
      <p:sp>
        <p:nvSpPr>
          <p:cNvPr id="86022"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30000"/>
              </a:spcBef>
              <a:spcAft>
                <a:spcPts val="357"/>
              </a:spcAft>
              <a:defRPr sz="1000">
                <a:solidFill>
                  <a:schemeClr val="tx1"/>
                </a:solidFill>
                <a:latin typeface="Segoe UI Light" panose="020B0502040204020203" pitchFamily="34" charset="0"/>
                <a:ea typeface="MS PGothic" panose="020B0600070205080204" pitchFamily="34" charset="-128"/>
              </a:defRPr>
            </a:lvl1pPr>
            <a:lvl2pPr marL="785372" indent="-302066">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2pPr>
            <a:lvl3pPr marL="1208265"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3pPr>
            <a:lvl4pPr marL="1691571"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4pPr>
            <a:lvl5pPr marL="2174878" indent="-241653">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5pPr>
            <a:lvl6pPr marL="2658184"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6pPr>
            <a:lvl7pPr marL="3141490"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7pPr>
            <a:lvl8pPr marL="3624796"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8pPr>
            <a:lvl9pPr marL="4108102" indent="-241653" defTabSz="985072" eaLnBrk="0" fontAlgn="base" hangingPunct="0">
              <a:lnSpc>
                <a:spcPct val="90000"/>
              </a:lnSpc>
              <a:spcBef>
                <a:spcPct val="30000"/>
              </a:spcBef>
              <a:spcAft>
                <a:spcPts val="357"/>
              </a:spcAft>
              <a:buFont typeface="Arial" panose="020B0604020202020204" pitchFamily="34" charset="0"/>
              <a:buChar char="•"/>
              <a:defRPr sz="1000">
                <a:solidFill>
                  <a:schemeClr val="tx1"/>
                </a:solidFill>
                <a:latin typeface="Segoe UI Light" panose="020B0502040204020203" pitchFamily="34" charset="0"/>
                <a:ea typeface="MS PGothic" panose="020B0600070205080204" pitchFamily="34" charset="-128"/>
              </a:defRPr>
            </a:lvl9pPr>
          </a:lstStyle>
          <a:p>
            <a:pPr>
              <a:lnSpc>
                <a:spcPct val="100000"/>
              </a:lnSpc>
              <a:spcBef>
                <a:spcPct val="0"/>
              </a:spcBef>
              <a:spcAft>
                <a:spcPct val="0"/>
              </a:spcAft>
            </a:pPr>
            <a:fld id="{719287C1-FF2B-4D7D-ADFA-DB38F7CA58B6}" type="slidenum">
              <a:rPr lang="en-US" altLang="en-US" sz="1300">
                <a:solidFill>
                  <a:srgbClr val="000000"/>
                </a:solidFill>
                <a:latin typeface="Segoe UI" panose="020B0502040204020203" pitchFamily="34" charset="0"/>
              </a:rPr>
              <a:pPr>
                <a:lnSpc>
                  <a:spcPct val="100000"/>
                </a:lnSpc>
                <a:spcBef>
                  <a:spcPct val="0"/>
                </a:spcBef>
                <a:spcAft>
                  <a:spcPct val="0"/>
                </a:spcAft>
              </a:pPr>
              <a:t>26</a:t>
            </a:fld>
            <a:endParaRPr lang="en-US" altLang="en-US" sz="1300">
              <a:solidFill>
                <a:srgbClr val="000000"/>
              </a:solidFill>
              <a:latin typeface="Segoe UI" panose="020B0502040204020203" pitchFamily="34" charset="0"/>
            </a:endParaRPr>
          </a:p>
        </p:txBody>
      </p:sp>
      <p:sp>
        <p:nvSpPr>
          <p:cNvPr id="6" name="Footer Placeholder 5"/>
          <p:cNvSpPr>
            <a:spLocks noGrp="1"/>
          </p:cNvSpPr>
          <p:nvPr>
            <p:ph type="ftr" sz="quarter" idx="4"/>
          </p:nvPr>
        </p:nvSpPr>
        <p:spPr>
          <a:xfrm>
            <a:off x="0" y="9121140"/>
            <a:ext cx="6315456" cy="373762"/>
          </a:xfrm>
        </p:spPr>
        <p:txBody>
          <a:bodyPr rtlCol="0"/>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97755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00" b="1" dirty="0">
                <a:ea typeface="ＭＳ Ｐゴシック" charset="0"/>
              </a:rPr>
              <a:t> </a:t>
            </a:r>
            <a:endParaRPr lang="en-US" dirty="0"/>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3</a:t>
            </a:fld>
            <a:endParaRPr lang="en-US" altLang="en-US"/>
          </a:p>
        </p:txBody>
      </p:sp>
    </p:spTree>
    <p:extLst>
      <p:ext uri="{BB962C8B-B14F-4D97-AF65-F5344CB8AC3E}">
        <p14:creationId xmlns:p14="http://schemas.microsoft.com/office/powerpoint/2010/main" val="296369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4</a:t>
            </a:fld>
            <a:endParaRPr lang="en-US"/>
          </a:p>
        </p:txBody>
      </p:sp>
    </p:spTree>
    <p:extLst>
      <p:ext uri="{BB962C8B-B14F-4D97-AF65-F5344CB8AC3E}">
        <p14:creationId xmlns:p14="http://schemas.microsoft.com/office/powerpoint/2010/main" val="3710735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fld id="{49015862-6663-4E96-82D9-691832C5BE93}" type="slidenum">
              <a:rPr lang="en-US" smtClean="0"/>
              <a:t>5</a:t>
            </a:fld>
            <a:endParaRPr lang="en-US"/>
          </a:p>
        </p:txBody>
      </p:sp>
    </p:spTree>
    <p:extLst>
      <p:ext uri="{BB962C8B-B14F-4D97-AF65-F5344CB8AC3E}">
        <p14:creationId xmlns:p14="http://schemas.microsoft.com/office/powerpoint/2010/main" val="667183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a:defRPr/>
            </a:pPr>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66294" fontAlgn="auto">
              <a:spcBef>
                <a:spcPts val="0"/>
              </a:spcBef>
              <a:spcAft>
                <a:spcPts val="0"/>
              </a:spcAft>
              <a:defRPr/>
            </a:pPr>
            <a:r>
              <a:rPr lang="en-US">
                <a:gradFill>
                  <a:gsLst>
                    <a:gs pos="0">
                      <a:prstClr val="black"/>
                    </a:gs>
                    <a:gs pos="100000">
                      <a:prstClr val="black"/>
                    </a:gs>
                  </a:gsLst>
                  <a:lin ang="5400000" scaled="0"/>
                </a:gradFill>
                <a:ea typeface="Segoe UI" pitchFamily="34" charset="0"/>
              </a:rPr>
              <a:t>© 2015 Microsoft Corporation. All rights reserved. MICROSOFT MAKES NO WARRANTIES, EXPRESS, IMPLIED OR STATUTORY, AS TO THE INFORMATION IN THIS PRESENTATION.</a:t>
            </a:r>
            <a:endParaRPr lang="en-US" dirty="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pPr defTabSz="986002" fontAlgn="auto">
              <a:spcBef>
                <a:spcPts val="0"/>
              </a:spcBef>
              <a:spcAft>
                <a:spcPts val="0"/>
              </a:spcAft>
              <a:defRPr/>
            </a:pPr>
            <a:fld id="{38EEC551-8CDA-4EB6-89BB-2A86C9F091C8}" type="datetime8">
              <a:rPr lang="en-US">
                <a:solidFill>
                  <a:prstClr val="black"/>
                </a:solidFill>
                <a:ea typeface="+mn-ea"/>
              </a:rPr>
              <a:pPr defTabSz="986002" fontAlgn="auto">
                <a:spcBef>
                  <a:spcPts val="0"/>
                </a:spcBef>
                <a:spcAft>
                  <a:spcPts val="0"/>
                </a:spcAft>
                <a:defRPr/>
              </a:pPr>
              <a:t>6/7/2017 10:02 AM</a:t>
            </a:fld>
            <a:endParaRPr lang="en-US" dirty="0">
              <a:solidFill>
                <a:prstClr val="black"/>
              </a:solidFill>
              <a:ea typeface="+mn-ea"/>
            </a:endParaRPr>
          </a:p>
        </p:txBody>
      </p:sp>
      <p:sp>
        <p:nvSpPr>
          <p:cNvPr id="7" name="Slide Number Placeholder 6"/>
          <p:cNvSpPr>
            <a:spLocks noGrp="1"/>
          </p:cNvSpPr>
          <p:nvPr>
            <p:ph type="sldNum" sz="quarter" idx="13"/>
          </p:nvPr>
        </p:nvSpPr>
        <p:spPr/>
        <p:txBody>
          <a:bodyPr/>
          <a:lstStyle/>
          <a:p>
            <a:pPr defTabSz="986002" fontAlgn="auto">
              <a:spcBef>
                <a:spcPts val="0"/>
              </a:spcBef>
              <a:spcAft>
                <a:spcPts val="0"/>
              </a:spcAft>
              <a:defRPr/>
            </a:pPr>
            <a:fld id="{B4008EB6-D09E-4580-8CD6-DDB14511944F}" type="slidenum">
              <a:rPr lang="en-US">
                <a:solidFill>
                  <a:prstClr val="black"/>
                </a:solidFill>
                <a:ea typeface="+mn-ea"/>
              </a:rPr>
              <a:pPr defTabSz="986002" fontAlgn="auto">
                <a:spcBef>
                  <a:spcPts val="0"/>
                </a:spcBef>
                <a:spcAft>
                  <a:spcPts val="0"/>
                </a:spcAft>
                <a:defRPr/>
              </a:pPr>
              <a:t>6</a:t>
            </a:fld>
            <a:endParaRPr lang="en-US" dirty="0">
              <a:solidFill>
                <a:prstClr val="black"/>
              </a:solidFill>
              <a:ea typeface="+mn-ea"/>
            </a:endParaRPr>
          </a:p>
        </p:txBody>
      </p:sp>
    </p:spTree>
    <p:extLst>
      <p:ext uri="{BB962C8B-B14F-4D97-AF65-F5344CB8AC3E}">
        <p14:creationId xmlns:p14="http://schemas.microsoft.com/office/powerpoint/2010/main" val="190184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might be wondering why you need IoT Hub in the first place.  After all there are service in Azure that allows you to perform the device to cloud messaging – for instance using service bus.  </a:t>
            </a:r>
          </a:p>
          <a:p>
            <a:r>
              <a:rPr lang="en-US" baseline="0" dirty="0"/>
              <a:t>IoT Hub in addition to communication patterns adds other value propositions to your IoT solutions.  It scales up to millions of simultaneously connected devices you do not have to scale those services on your own.  These communication patterns will scale with you just by increasing the # of units in your IoT deployment.</a:t>
            </a:r>
          </a:p>
          <a:p>
            <a:endParaRPr lang="en-US" baseline="0" dirty="0"/>
          </a:p>
          <a:p>
            <a:r>
              <a:rPr lang="en-US" baseline="0" dirty="0"/>
              <a:t>IoT Hub supports per device authentication and security. Per device authentication is fundamental because you want to have fine grain control on which devices access your solution and you want to make sure that you are sending commands to the right devices.  This per device authentication and per device identity is embedded and designed into the communication pattern in the device to cloud messaging and cloud to device messaging.</a:t>
            </a:r>
          </a:p>
          <a:p>
            <a:endParaRPr lang="en-US" baseline="0" dirty="0"/>
          </a:p>
          <a:p>
            <a:r>
              <a:rPr lang="en-US" baseline="0" dirty="0"/>
              <a:t>There is also service facing monitoring.  IoT solutions usually have the problem that devices cannot be reached without a cloud connection.  Mostly it requires someone physically going to the device location to deliver maintenance on it.  Since this is the case, it is very important to have monitoring on the status of each and every piece of communication.  </a:t>
            </a:r>
          </a:p>
          <a:p>
            <a:endParaRPr lang="en-US" baseline="0" dirty="0"/>
          </a:p>
          <a:p>
            <a:r>
              <a:rPr lang="en-US" baseline="0" dirty="0"/>
              <a:t>Finally, IoT Hub supports many IoT protocols and is designed to support constrained devices,  where device is retrained in networking resources, power resources or computational resources.  </a:t>
            </a:r>
          </a:p>
          <a:p>
            <a:endParaRPr lang="en-US" baseline="0" dirty="0"/>
          </a:p>
          <a:p>
            <a:r>
              <a:rPr lang="en-US" baseline="0" dirty="0"/>
              <a:t>Of course, your IoT solution might need different communication patterns.  You can thinking about uploading or downloading files or using real time proxy strategy like an HTP or WEB API.  These patterns while they are not currently supported in IoT Hub do benefit from IoT Hub in many ways and we do provide guidance on how to implement them.</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ltLang="en-US"/>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DE598D99-56EC-44B0-A1F1-DED5A5FDAEC8}" type="datetime8">
              <a:rPr lang="en-US" altLang="en-US" smtClean="0"/>
              <a:pPr>
                <a:defRPr/>
              </a:pPr>
              <a:t>6/7/2017 9:54 AM</a:t>
            </a:fld>
            <a:endParaRPr lang="en-US" altLang="en-US"/>
          </a:p>
        </p:txBody>
      </p:sp>
      <p:sp>
        <p:nvSpPr>
          <p:cNvPr id="7" name="Slide Number Placeholder 6"/>
          <p:cNvSpPr>
            <a:spLocks noGrp="1"/>
          </p:cNvSpPr>
          <p:nvPr>
            <p:ph type="sldNum" sz="quarter" idx="13"/>
          </p:nvPr>
        </p:nvSpPr>
        <p:spPr/>
        <p:txBody>
          <a:bodyPr/>
          <a:lstStyle/>
          <a:p>
            <a:pPr>
              <a:defRPr/>
            </a:pPr>
            <a:fld id="{AE0CBDBD-C344-44AE-A370-0846076D6E08}" type="slidenum">
              <a:rPr lang="en-US" altLang="en-US" smtClean="0"/>
              <a:pPr>
                <a:defRPr/>
              </a:pPr>
              <a:t>7</a:t>
            </a:fld>
            <a:endParaRPr lang="en-US" altLang="en-US"/>
          </a:p>
        </p:txBody>
      </p:sp>
    </p:spTree>
    <p:extLst>
      <p:ext uri="{BB962C8B-B14F-4D97-AF65-F5344CB8AC3E}">
        <p14:creationId xmlns:p14="http://schemas.microsoft.com/office/powerpoint/2010/main" val="56001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954344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6/7/2017</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084896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80146" y="1593198"/>
            <a:ext cx="11887200" cy="2091598"/>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39486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11939339" cy="1845753"/>
          </a:xfrm>
        </p:spPr>
        <p:txBody>
          <a:bodyPr/>
          <a:lstStyle>
            <a:lvl1pPr marL="0" indent="0">
              <a:buFontTx/>
              <a:buNone/>
              <a:defRPr sz="3672">
                <a:solidFill>
                  <a:srgbClr val="00BCF2"/>
                </a:solidFill>
              </a:defRPr>
            </a:lvl1pPr>
            <a:lvl2pPr marL="0" indent="0">
              <a:spcAft>
                <a:spcPts val="612"/>
              </a:spcAft>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1290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54456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80145"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383677" y="2167979"/>
            <a:ext cx="5596414" cy="2343911"/>
          </a:xfrm>
        </p:spPr>
        <p:txBody>
          <a:bodyPr/>
          <a:lstStyle>
            <a:lvl1pPr marL="0" indent="0">
              <a:buFontTx/>
              <a:buNone/>
              <a:defRPr sz="3672">
                <a:solidFill>
                  <a:srgbClr val="00BCF2"/>
                </a:solidFill>
              </a:defRPr>
            </a:lvl1pPr>
            <a:lvl2pPr marL="0" indent="0">
              <a:buFontTx/>
              <a:buNone/>
              <a:defRPr sz="1836">
                <a:solidFill>
                  <a:schemeClr val="tx1"/>
                </a:solidFill>
              </a:defRPr>
            </a:lvl2pPr>
            <a:lvl3pPr marL="0" indent="0">
              <a:buFontTx/>
              <a:buNone/>
              <a:defRPr sz="1632">
                <a:solidFill>
                  <a:schemeClr val="tx1"/>
                </a:solidFill>
              </a:defRPr>
            </a:lvl3pPr>
            <a:lvl4pPr marL="0" indent="0">
              <a:buFontTx/>
              <a:buNone/>
              <a:defRPr sz="1428">
                <a:solidFill>
                  <a:schemeClr val="tx1"/>
                </a:solidFill>
              </a:defRPr>
            </a:lvl4pPr>
            <a:lvl5pPr marL="0" indent="0">
              <a:buFontTx/>
              <a:buNone/>
              <a:defRPr sz="1428">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498059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40" y="1593198"/>
            <a:ext cx="11887200" cy="2091598"/>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65259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6150" y="1593197"/>
            <a:ext cx="11887200" cy="2146998"/>
          </a:xfrm>
        </p:spPr>
        <p:txBody>
          <a:bodyPr>
            <a:spAutoFit/>
          </a:bodyPr>
          <a:lstStyle>
            <a:lvl1pPr>
              <a:defRPr sz="39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2659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6" y="1593197"/>
            <a:ext cx="11887200" cy="2146998"/>
          </a:xfrm>
        </p:spPr>
        <p:txBody>
          <a:bodyPr>
            <a:spAutoFit/>
          </a:bodyPr>
          <a:lstStyle>
            <a:lvl1pPr>
              <a:defRPr sz="39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70071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4166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8"/>
            <a:ext cx="5486399" cy="1980799"/>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86330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593197"/>
            <a:ext cx="5486399" cy="2479140"/>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3895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74641"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607907"/>
            <a:ext cx="5486399" cy="2479140"/>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1267029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4950421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9235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0849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0458" y="2125664"/>
            <a:ext cx="11521382"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Tree>
    <p:extLst>
      <p:ext uri="{BB962C8B-B14F-4D97-AF65-F5344CB8AC3E}">
        <p14:creationId xmlns:p14="http://schemas.microsoft.com/office/powerpoint/2010/main" val="213173597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1896" y="2125664"/>
            <a:ext cx="11399943" cy="1181862"/>
          </a:xfrm>
          <a:noFill/>
        </p:spPr>
        <p:txBody>
          <a:bodyPr wrap="square" tIns="91440" bIns="91440" anchor="t" anchorCtr="0">
            <a:spAutoFit/>
          </a:bodyPr>
          <a:lstStyle>
            <a:lvl1pPr>
              <a:defRPr sz="7196" spc="-100"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31896" y="4229100"/>
            <a:ext cx="10698103" cy="928459"/>
          </a:xfrm>
        </p:spPr>
        <p:txBody>
          <a:bodyPr/>
          <a:lstStyle>
            <a:lvl1pPr marL="0" indent="0">
              <a:buNone/>
              <a:defRPr sz="3200"/>
            </a:lvl1pPr>
            <a:lvl2pPr marL="0" indent="0">
              <a:buNone/>
              <a:defRPr sz="1800"/>
            </a:lvl2pPr>
            <a:lvl3pPr marL="0" indent="0">
              <a:buNone/>
              <a:defRPr sz="1600"/>
            </a:lvl3pPr>
            <a:lvl4pPr marL="0" indent="0">
              <a:buNone/>
              <a:defRPr sz="1400"/>
            </a:lvl4pPr>
            <a:lvl5pPr marL="0" indent="0">
              <a:buNone/>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6342662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103440" y="2125663"/>
            <a:ext cx="8229600" cy="1828801"/>
          </a:xfrm>
          <a:noFill/>
        </p:spPr>
        <p:txBody>
          <a:bodyPr wrap="square" tIns="91440" bIns="91440" anchor="t" anchorCtr="0">
            <a:noAutofit/>
          </a:bodyPr>
          <a:lstStyle>
            <a:lvl1pPr>
              <a:defRPr sz="5998" spc="-100"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792898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0016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9232" y="3145040"/>
            <a:ext cx="3109220" cy="667512"/>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564804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72985"/>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98385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6231535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56"/>
            </a:lvl1pPr>
          </a:lstStyle>
          <a:p>
            <a:r>
              <a:rPr lang="en-US"/>
              <a:t>Click to edit Master title style</a:t>
            </a:r>
            <a:endParaRPr lang="en-US" dirty="0"/>
          </a:p>
        </p:txBody>
      </p:sp>
    </p:spTree>
    <p:extLst>
      <p:ext uri="{BB962C8B-B14F-4D97-AF65-F5344CB8AC3E}">
        <p14:creationId xmlns:p14="http://schemas.microsoft.com/office/powerpoint/2010/main" val="3856877070"/>
      </p:ext>
    </p:extLst>
  </p:cSld>
  <p:clrMapOvr>
    <a:masterClrMapping/>
  </p:clrMapOvr>
  <p:transition>
    <p:fade/>
  </p:transition>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18748" y="3646608"/>
            <a:ext cx="11416646" cy="3137431"/>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343878" y="1832622"/>
            <a:ext cx="9591516" cy="1772472"/>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18748" y="1869342"/>
            <a:ext cx="1825130" cy="161790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415931" y="2036381"/>
            <a:ext cx="0" cy="1340144"/>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30578" y="2525892"/>
            <a:ext cx="1735752"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45114" y="2146135"/>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526159" y="2269787"/>
            <a:ext cx="2712628" cy="904043"/>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5565153" y="2580552"/>
            <a:ext cx="6116681" cy="282513"/>
          </a:xfrm>
        </p:spPr>
        <p:txBody>
          <a:bodyPr lIns="0" tIns="0" rIns="0" bIns="0" anchor="ctr"/>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9" name="Text Placeholder 7"/>
          <p:cNvSpPr>
            <a:spLocks noGrp="1"/>
          </p:cNvSpPr>
          <p:nvPr>
            <p:ph type="body" sz="quarter" idx="13"/>
          </p:nvPr>
        </p:nvSpPr>
        <p:spPr>
          <a:xfrm>
            <a:off x="280146" y="1073466"/>
            <a:ext cx="11939339" cy="583860"/>
          </a:xfrm>
        </p:spPr>
        <p:txBody>
          <a:bodyPr/>
          <a:lstStyle>
            <a:lvl1pPr marL="0" indent="0">
              <a:buNone/>
              <a:defRPr sz="2856">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93509347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lvl1pPr>
              <a:defRPr sz="2856"/>
            </a:lvl1pPr>
          </a:lstStyle>
          <a:p>
            <a:r>
              <a:rPr lang="en-US"/>
              <a:t>Click to edit Master title style</a:t>
            </a:r>
            <a:endParaRPr lang="en-US" dirty="0"/>
          </a:p>
        </p:txBody>
      </p:sp>
      <p:sp>
        <p:nvSpPr>
          <p:cNvPr id="6" name="Text Placeholder 5"/>
          <p:cNvSpPr>
            <a:spLocks noGrp="1"/>
          </p:cNvSpPr>
          <p:nvPr>
            <p:ph type="body" sz="quarter" idx="10"/>
          </p:nvPr>
        </p:nvSpPr>
        <p:spPr>
          <a:xfrm>
            <a:off x="5876559" y="1942924"/>
            <a:ext cx="6287644" cy="1349537"/>
          </a:xfrm>
        </p:spPr>
        <p:txBody>
          <a:bodyPr/>
          <a:lstStyle>
            <a:lvl1pPr marL="0" indent="0">
              <a:spcBef>
                <a:spcPts val="1224"/>
              </a:spcBef>
              <a:buNone/>
              <a:defRPr sz="1632">
                <a:solidFill>
                  <a:schemeClr val="tx1"/>
                </a:solidFill>
                <a:latin typeface="Segoe Semibold" panose="020B0702040504020203" pitchFamily="34" charset="0"/>
              </a:defRPr>
            </a:lvl1pPr>
            <a:lvl2pPr marL="0" indent="0">
              <a:spcBef>
                <a:spcPts val="612"/>
              </a:spcBef>
              <a:buNone/>
              <a:defRPr sz="1428">
                <a:solidFill>
                  <a:schemeClr val="tx1"/>
                </a:solidFill>
              </a:defRPr>
            </a:lvl2pPr>
            <a:lvl3pPr marL="351343" indent="-228292">
              <a:defRPr sz="1224">
                <a:solidFill>
                  <a:schemeClr val="tx1"/>
                </a:solidFill>
              </a:defRPr>
            </a:lvl3pPr>
            <a:lvl4pPr marL="519729" indent="-168385">
              <a:defRPr sz="1122">
                <a:solidFill>
                  <a:schemeClr val="tx1"/>
                </a:solidFill>
              </a:defRPr>
            </a:lvl4pPr>
            <a:lvl5pPr marL="994122" indent="-228292">
              <a:defRPr sz="1122">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74639" y="1504812"/>
            <a:ext cx="5134487" cy="510683"/>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28">
                <a:solidFill>
                  <a:schemeClr val="accent1"/>
                </a:solidFill>
                <a:latin typeface="+mn-lt"/>
              </a:defRPr>
            </a:lvl2pPr>
          </a:lstStyle>
          <a:p>
            <a:pPr lvl="0" fontAlgn="base">
              <a:spcBef>
                <a:spcPts val="612"/>
              </a:spcBef>
              <a:spcAft>
                <a:spcPct val="0"/>
              </a:spcAft>
            </a:pPr>
            <a:r>
              <a:rPr lang="en-US" dirty="0"/>
              <a:t>Click to edit Master text styles</a:t>
            </a:r>
          </a:p>
          <a:p>
            <a:pPr lvl="1" fontAlgn="base">
              <a:spcBef>
                <a:spcPts val="612"/>
              </a:spcBef>
              <a:spcAft>
                <a:spcPct val="0"/>
              </a:spcAft>
            </a:pPr>
            <a:r>
              <a:rPr lang="en-US" dirty="0"/>
              <a:t>VNVN</a:t>
            </a:r>
          </a:p>
        </p:txBody>
      </p:sp>
      <p:sp>
        <p:nvSpPr>
          <p:cNvPr id="12" name="Text Placeholder 8"/>
          <p:cNvSpPr>
            <a:spLocks noGrp="1"/>
          </p:cNvSpPr>
          <p:nvPr>
            <p:ph type="body" sz="quarter" idx="12"/>
          </p:nvPr>
        </p:nvSpPr>
        <p:spPr>
          <a:xfrm>
            <a:off x="5876558" y="1504811"/>
            <a:ext cx="6342926" cy="230524"/>
          </a:xfrm>
        </p:spPr>
        <p:txBody>
          <a:bodyPr vert="horz" wrap="square" lIns="146304" tIns="0" rIns="0" bIns="0" rtlCol="0" anchor="t" anchorCtr="0">
            <a:spAutoFit/>
          </a:bodyPr>
          <a:lstStyle>
            <a:lvl1pPr marL="0" indent="0">
              <a:spcBef>
                <a:spcPts val="0"/>
              </a:spcBef>
              <a:buNone/>
              <a:defRPr lang="en-US" sz="1632"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12"/>
              </a:spcBef>
              <a:spcAft>
                <a:spcPct val="0"/>
              </a:spcAft>
            </a:pPr>
            <a:r>
              <a:rPr lang="en-US" dirty="0"/>
              <a:t>Click to edit Master text styles</a:t>
            </a:r>
          </a:p>
        </p:txBody>
      </p:sp>
    </p:spTree>
    <p:extLst>
      <p:ext uri="{BB962C8B-B14F-4D97-AF65-F5344CB8AC3E}">
        <p14:creationId xmlns:p14="http://schemas.microsoft.com/office/powerpoint/2010/main" val="1308642036"/>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646608"/>
            <a:ext cx="12436475" cy="3347917"/>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122"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41529" y="1832622"/>
            <a:ext cx="10594946" cy="1772472"/>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199" y="1832622"/>
            <a:ext cx="1825130" cy="1772471"/>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ctr"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85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44510" y="2522280"/>
            <a:ext cx="1728527" cy="437100"/>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rtlCol="0" anchor="t" anchorCtr="0" compatLnSpc="1">
            <a:prstTxWarp prst="textNoShape">
              <a:avLst/>
            </a:prstTxWarp>
          </a:bodyP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50065" y="2218573"/>
            <a:ext cx="1172397" cy="1120636"/>
          </a:xfrm>
        </p:spPr>
        <p:txBody>
          <a:bodyPr/>
          <a:lstStyle>
            <a:lvl1pPr marL="0" indent="0" algn="ctr">
              <a:buNone/>
              <a:defRPr sz="6731"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77807" y="1992562"/>
            <a:ext cx="9704027" cy="452021"/>
          </a:xfrm>
        </p:spPr>
        <p:txBody>
          <a:bodyPr lIns="0" tIns="0" rIns="0" bIns="0" anchor="ctr"/>
          <a:lstStyle>
            <a:lvl1pPr marL="0" indent="0">
              <a:buNone/>
              <a:defRPr sz="3264">
                <a:solidFill>
                  <a:schemeClr val="bg1"/>
                </a:solidFill>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68" name="Text Placeholder 66"/>
          <p:cNvSpPr>
            <a:spLocks noGrp="1"/>
          </p:cNvSpPr>
          <p:nvPr>
            <p:ph type="body" sz="quarter" idx="12"/>
          </p:nvPr>
        </p:nvSpPr>
        <p:spPr>
          <a:xfrm>
            <a:off x="1977807" y="2580552"/>
            <a:ext cx="9704027" cy="282513"/>
          </a:xfrm>
        </p:spPr>
        <p:txBody>
          <a:bodyPr lIns="0" tIns="0" rIns="0" bIns="0" anchor="t" anchorCtr="0"/>
          <a:lstStyle>
            <a:lvl1pPr marL="0" indent="0">
              <a:buNone/>
              <a:defRPr sz="2040">
                <a:solidFill>
                  <a:schemeClr val="bg1"/>
                </a:solidFill>
                <a:latin typeface="+mn-lt"/>
              </a:defRPr>
            </a:lvl1pPr>
            <a:lvl2pPr marL="342769" indent="0">
              <a:buNone/>
              <a:defRPr/>
            </a:lvl2pPr>
            <a:lvl3pPr marL="571280" indent="0">
              <a:buNone/>
              <a:defRPr/>
            </a:lvl3pPr>
            <a:lvl4pPr marL="799792" indent="0">
              <a:buNone/>
              <a:defRPr/>
            </a:lvl4pPr>
            <a:lvl5pPr marL="1028304"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154800393"/>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0307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0145" y="3577471"/>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schemeClr val="tx1"/>
                </a:solidFill>
                <a:latin typeface="Segoe UI Light"/>
                <a:ea typeface="+mn-ea"/>
                <a:cs typeface="+mn-cs"/>
              </a:defRPr>
            </a:lvl1pPr>
            <a:lvl2pPr marL="699447" indent="0">
              <a:defRPr lang="en-US" sz="1836" smtClean="0">
                <a:solidFill>
                  <a:schemeClr val="tx1"/>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80146" y="1073466"/>
            <a:ext cx="11939339" cy="591774"/>
          </a:xfrm>
        </p:spPr>
        <p:txBody>
          <a:bodyPr vert="horz" wrap="square" lIns="146304" tIns="91440" rIns="146304" bIns="91440" rtlCol="0">
            <a:spAutoFit/>
          </a:bodyPr>
          <a:lstStyle>
            <a:lvl1pPr>
              <a:defRPr lang="en-US" sz="2856"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199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80145" y="3096137"/>
            <a:ext cx="4663678" cy="911433"/>
          </a:xfrm>
        </p:spPr>
        <p:txBody>
          <a:bodyPr vert="horz" wrap="square" lIns="146304" tIns="91440" rIns="146304" bIns="91440" rtlCol="0" anchor="ctr">
            <a:spAutoFit/>
          </a:bodyPr>
          <a:lstStyle>
            <a:lvl1pPr marL="466298" indent="-466298">
              <a:spcBef>
                <a:spcPts val="2448"/>
              </a:spcBef>
              <a:buClr>
                <a:srgbClr val="B4A0FF"/>
              </a:buClr>
              <a:buFont typeface="Webdings" panose="05030102010509060703" pitchFamily="18" charset="2"/>
              <a:buChar char="4"/>
              <a:defRPr lang="en-US" sz="2913" kern="1200" spc="0" baseline="0" dirty="0" smtClean="0">
                <a:solidFill>
                  <a:prstClr val="white"/>
                </a:solidFill>
                <a:latin typeface="Segoe UI Light"/>
                <a:ea typeface="+mn-ea"/>
                <a:cs typeface="+mn-cs"/>
              </a:defRPr>
            </a:lvl1pPr>
            <a:lvl2pPr marL="699447" indent="0">
              <a:defRPr lang="en-US" sz="1836" smtClean="0">
                <a:solidFill>
                  <a:schemeClr val="bg1">
                    <a:lumMod val="85000"/>
                  </a:schemeClr>
                </a:solidFill>
              </a:defRPr>
            </a:lvl2pPr>
            <a:lvl3pPr>
              <a:defRPr lang="en-US" sz="2913" smtClean="0">
                <a:solidFill>
                  <a:prstClr val="white"/>
                </a:solidFill>
                <a:latin typeface="Segoe UI Light"/>
              </a:defRPr>
            </a:lvl3pPr>
            <a:lvl4pPr>
              <a:defRPr lang="en-US" sz="1428" smtClean="0">
                <a:solidFill>
                  <a:schemeClr val="bg1">
                    <a:lumMod val="85000"/>
                  </a:schemeClr>
                </a:solidFill>
              </a:defRPr>
            </a:lvl4pPr>
            <a:lvl5pPr>
              <a:defRPr lang="en-US" sz="1428">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2161396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66367" y="1792347"/>
            <a:ext cx="5763944" cy="2007480"/>
          </a:xfrm>
        </p:spPr>
        <p:txBody>
          <a:bodyPr/>
          <a:lstStyle>
            <a:lvl1pPr marL="0" indent="0">
              <a:spcBef>
                <a:spcPts val="2448"/>
              </a:spcBef>
              <a:buNone/>
              <a:defRPr>
                <a:solidFill>
                  <a:schemeClr val="tx1"/>
                </a:solidFill>
              </a:defRPr>
            </a:lvl1pPr>
            <a:lvl2pPr marL="0" indent="0">
              <a:buClr>
                <a:schemeClr val="accent5"/>
              </a:buClr>
              <a:buFont typeface="Segoe UI" panose="020B0502040204020203" pitchFamily="34" charset="0"/>
              <a:buNone/>
              <a:defRPr sz="2040">
                <a:solidFill>
                  <a:schemeClr val="tx1"/>
                </a:solidFill>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522448" y="1792347"/>
            <a:ext cx="5641755" cy="2052407"/>
          </a:xfrm>
        </p:spPr>
        <p:txBody>
          <a:bodyPr/>
          <a:lstStyle>
            <a:lvl1pPr marL="0" indent="0">
              <a:spcBef>
                <a:spcPts val="2448"/>
              </a:spcBef>
              <a:buFont typeface="Arial" panose="020B0604020202020204" pitchFamily="34" charset="0"/>
              <a:buNone/>
              <a:defRPr lang="en-US" sz="3998"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40" kern="1200" spc="0" baseline="0" dirty="0" smtClean="0">
                <a:solidFill>
                  <a:schemeClr val="tx1"/>
                </a:solidFill>
                <a:latin typeface="+mn-lt"/>
                <a:ea typeface="+mn-ea"/>
                <a:cs typeface="+mn-cs"/>
              </a:defRPr>
            </a:lvl2pPr>
            <a:lvl3pPr marL="0" indent="0">
              <a:buNone/>
              <a:defRPr sz="1836">
                <a:solidFill>
                  <a:schemeClr val="tx1"/>
                </a:solidFill>
              </a:defRPr>
            </a:lvl3pPr>
            <a:lvl4pPr marL="0" indent="0">
              <a:buNone/>
              <a:defRPr sz="1632">
                <a:solidFill>
                  <a:schemeClr val="tx1"/>
                </a:solidFill>
              </a:defRPr>
            </a:lvl4pPr>
            <a:lvl5pPr marL="0" indent="0">
              <a:buNone/>
              <a:defRPr sz="1632">
                <a:solidFill>
                  <a:schemeClr val="tx1"/>
                </a:solidFill>
              </a:defRPr>
            </a:lvl5pPr>
          </a:lstStyle>
          <a:p>
            <a:pPr marL="582873" marR="0" lvl="0" indent="-582873" algn="l" defTabSz="932384" rtl="0" eaLnBrk="1" fontAlgn="auto" latinLnBrk="0" hangingPunct="1">
              <a:lnSpc>
                <a:spcPct val="90000"/>
              </a:lnSpc>
              <a:spcBef>
                <a:spcPts val="2448"/>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376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248960" y="-1925157"/>
            <a:ext cx="1554559" cy="1554339"/>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10088877" y="-1910252"/>
            <a:ext cx="1554559" cy="155433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b" anchorCtr="0" compatLnSpc="1">
            <a:prstTxWarp prst="textNoShape">
              <a:avLst/>
            </a:prstTxWarp>
          </a:bodyPr>
          <a:lstStyle/>
          <a:p>
            <a:pPr marL="0" marR="0" lvl="0" indent="0" algn="l" defTabSz="951028" rtl="0" eaLnBrk="1" fontAlgn="base" latinLnBrk="0" hangingPunct="1">
              <a:lnSpc>
                <a:spcPct val="100000"/>
              </a:lnSpc>
              <a:spcBef>
                <a:spcPct val="0"/>
              </a:spcBef>
              <a:spcAft>
                <a:spcPct val="0"/>
              </a:spcAft>
              <a:buClrTx/>
              <a:buSzTx/>
              <a:buFontTx/>
              <a:buNone/>
              <a:tabLst/>
              <a:defRPr/>
            </a:pPr>
            <a:r>
              <a:rPr kumimoji="0" lang="en-US" sz="153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3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80146" y="1073466"/>
            <a:ext cx="11939339" cy="591774"/>
          </a:xfrm>
        </p:spPr>
        <p:txBody>
          <a:bodyPr vert="horz" wrap="square" lIns="146304" tIns="91440" rIns="146304" bIns="91440" rtlCol="0">
            <a:spAutoFit/>
          </a:bodyPr>
          <a:lstStyle>
            <a:lvl1pPr marL="0" indent="0">
              <a:buNone/>
              <a:defRPr lang="en-US" sz="2856" dirty="0" smtClean="0">
                <a:solidFill>
                  <a:srgbClr val="0070C0"/>
                </a:solidFill>
              </a:defRPr>
            </a:lvl1pPr>
          </a:lstStyle>
          <a:p>
            <a:pPr marL="342768" lvl="0" indent="-342768"/>
            <a:r>
              <a:rPr lang="en-US" dirty="0"/>
              <a:t>Click to edit Master text styles</a:t>
            </a:r>
          </a:p>
        </p:txBody>
      </p:sp>
    </p:spTree>
    <p:extLst>
      <p:ext uri="{BB962C8B-B14F-4D97-AF65-F5344CB8AC3E}">
        <p14:creationId xmlns:p14="http://schemas.microsoft.com/office/powerpoint/2010/main" val="21063598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585893"/>
            <a:ext cx="11887198" cy="21530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3783491338"/>
      </p:ext>
    </p:extLst>
  </p:cSld>
  <p:clrMap bg1="dk1" tx1="lt1" bg2="dk2" tx2="lt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81" r:id="rId23"/>
    <p:sldLayoutId id="2147484882" r:id="rId24"/>
    <p:sldLayoutId id="2147484884" r:id="rId25"/>
    <p:sldLayoutId id="2147484885" r:id="rId26"/>
    <p:sldLayoutId id="2147484886" r:id="rId27"/>
    <p:sldLayoutId id="2147484888" r:id="rId28"/>
    <p:sldLayoutId id="2147484889" r:id="rId29"/>
    <p:sldLayoutId id="2147484890" r:id="rId30"/>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ts val="1836"/>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ts val="372"/>
        </a:spcBef>
        <a:spcAft>
          <a:spcPts val="612"/>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5.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emf"/><Relationship Id="rId18" Type="http://schemas.openxmlformats.org/officeDocument/2006/relationships/image" Target="../media/image27.png"/><Relationship Id="rId3" Type="http://schemas.openxmlformats.org/officeDocument/2006/relationships/image" Target="../media/image12.png"/><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notesSlide" Target="../notesSlides/notesSlide19.xml"/><Relationship Id="rId16" Type="http://schemas.openxmlformats.org/officeDocument/2006/relationships/image" Target="../media/image25.png"/><Relationship Id="rId20" Type="http://schemas.openxmlformats.org/officeDocument/2006/relationships/image" Target="../media/image28.png"/><Relationship Id="rId1" Type="http://schemas.openxmlformats.org/officeDocument/2006/relationships/slideLayout" Target="../slideLayouts/slideLayout8.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emf"/><Relationship Id="rId19" Type="http://schemas.openxmlformats.org/officeDocument/2006/relationships/image" Target="../media/image7.png"/><Relationship Id="rId4" Type="http://schemas.openxmlformats.org/officeDocument/2006/relationships/image" Target="../media/image13.png"/><Relationship Id="rId9" Type="http://schemas.openxmlformats.org/officeDocument/2006/relationships/image" Target="../media/image18.emf"/><Relationship Id="rId14" Type="http://schemas.openxmlformats.org/officeDocument/2006/relationships/image" Target="../media/image23.emf"/><Relationship Id="rId22"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3" Type="http://schemas.openxmlformats.org/officeDocument/2006/relationships/tags" Target="../tags/tag30.xml"/><Relationship Id="rId7"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s/_rels/slide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2.xml"/><Relationship Id="rId7"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102085"/>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Suite</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4109949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 Device Twins</a:t>
            </a:r>
          </a:p>
        </p:txBody>
      </p:sp>
      <p:sp>
        <p:nvSpPr>
          <p:cNvPr id="4" name="Text Placeholder 3"/>
          <p:cNvSpPr>
            <a:spLocks noGrp="1"/>
          </p:cNvSpPr>
          <p:nvPr>
            <p:ph type="body" sz="quarter" idx="10"/>
          </p:nvPr>
        </p:nvSpPr>
        <p:spPr>
          <a:xfrm>
            <a:off x="466367" y="1792347"/>
            <a:ext cx="11786844" cy="4881336"/>
          </a:xfrm>
        </p:spPr>
        <p:txBody>
          <a:bodyPr/>
          <a:lstStyle/>
          <a:p>
            <a:r>
              <a:rPr lang="en-US" sz="2800" dirty="0"/>
              <a:t>JSON documents to store device state information (metadata, configurations, and conditions). </a:t>
            </a:r>
          </a:p>
          <a:p>
            <a:r>
              <a:rPr lang="en-US" sz="2800" dirty="0"/>
              <a:t>Use device twins to:</a:t>
            </a:r>
          </a:p>
          <a:p>
            <a:pPr marL="457200" indent="-457200">
              <a:buFont typeface="Arial" panose="020B0604020202020204" pitchFamily="34" charset="0"/>
              <a:buChar char="•"/>
            </a:pPr>
            <a:r>
              <a:rPr lang="en-US" sz="2400" dirty="0"/>
              <a:t>Store device metadata from your solution back end.</a:t>
            </a:r>
          </a:p>
          <a:p>
            <a:pPr marL="457200" indent="-457200">
              <a:buFont typeface="Arial" panose="020B0604020202020204" pitchFamily="34" charset="0"/>
              <a:buChar char="•"/>
            </a:pPr>
            <a:r>
              <a:rPr lang="en-US" sz="2400" dirty="0"/>
              <a:t>Report current state information such as available capabilities and conditions (for example, the connectivity method used) from your device app.</a:t>
            </a:r>
          </a:p>
          <a:p>
            <a:pPr marL="457200" indent="-457200">
              <a:buFont typeface="Arial" panose="020B0604020202020204" pitchFamily="34" charset="0"/>
              <a:buChar char="•"/>
            </a:pPr>
            <a:r>
              <a:rPr lang="en-US" sz="2400" dirty="0"/>
              <a:t>Synchronize the state of long-running workflows (such as firmware and configuration updates) between a device app and a back-end app.</a:t>
            </a:r>
          </a:p>
          <a:p>
            <a:pPr marL="457200" indent="-457200">
              <a:buFont typeface="Arial" panose="020B0604020202020204" pitchFamily="34" charset="0"/>
              <a:buChar char="•"/>
            </a:pPr>
            <a:r>
              <a:rPr lang="en-US" sz="2400" dirty="0"/>
              <a:t>Query your device metadata, configuration, or state.</a:t>
            </a:r>
            <a:endParaRPr lang="en-US" sz="2800" dirty="0"/>
          </a:p>
        </p:txBody>
      </p:sp>
    </p:spTree>
    <p:extLst>
      <p:ext uri="{BB962C8B-B14F-4D97-AF65-F5344CB8AC3E}">
        <p14:creationId xmlns:p14="http://schemas.microsoft.com/office/powerpoint/2010/main" val="24088018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 Device Twins</a:t>
            </a:r>
          </a:p>
        </p:txBody>
      </p:sp>
      <p:sp>
        <p:nvSpPr>
          <p:cNvPr id="4" name="Text Placeholder 3"/>
          <p:cNvSpPr>
            <a:spLocks noGrp="1"/>
          </p:cNvSpPr>
          <p:nvPr>
            <p:ph type="body" sz="quarter" idx="10"/>
          </p:nvPr>
        </p:nvSpPr>
        <p:spPr>
          <a:xfrm>
            <a:off x="466367" y="1792347"/>
            <a:ext cx="6940577" cy="4653582"/>
          </a:xfrm>
        </p:spPr>
        <p:txBody>
          <a:bodyPr/>
          <a:lstStyle/>
          <a:p>
            <a:r>
              <a:rPr lang="en-US" sz="3200" dirty="0"/>
              <a:t>Device twins contain:</a:t>
            </a:r>
          </a:p>
          <a:p>
            <a:pPr marL="457200" indent="-457200">
              <a:buFont typeface="Arial" panose="020B0604020202020204" pitchFamily="34" charset="0"/>
              <a:buChar char="•"/>
            </a:pPr>
            <a:r>
              <a:rPr lang="en-US" sz="2800" i="1" dirty="0"/>
              <a:t>tags</a:t>
            </a:r>
            <a:r>
              <a:rPr lang="en-US" sz="2800" dirty="0"/>
              <a:t>, device metadata accessible only by the solution back end;</a:t>
            </a:r>
          </a:p>
          <a:p>
            <a:pPr marL="457200" indent="-457200">
              <a:buFont typeface="Arial" panose="020B0604020202020204" pitchFamily="34" charset="0"/>
              <a:buChar char="•"/>
            </a:pPr>
            <a:r>
              <a:rPr lang="en-US" sz="2800" i="1" dirty="0"/>
              <a:t>desired properties</a:t>
            </a:r>
            <a:r>
              <a:rPr lang="en-US" sz="2800" dirty="0"/>
              <a:t>, modifiable by the solution back end and observable by the device app</a:t>
            </a:r>
          </a:p>
          <a:p>
            <a:pPr marL="457200" indent="-457200">
              <a:buFont typeface="Arial" panose="020B0604020202020204" pitchFamily="34" charset="0"/>
              <a:buChar char="•"/>
            </a:pPr>
            <a:r>
              <a:rPr lang="en-US" sz="2800" i="1" dirty="0"/>
              <a:t>reported properties</a:t>
            </a:r>
            <a:r>
              <a:rPr lang="en-US" sz="2800" dirty="0"/>
              <a:t>, modifiable by the device app and readable by the solution back end. </a:t>
            </a:r>
            <a:endParaRPr lang="en-US" sz="3200" dirty="0"/>
          </a:p>
        </p:txBody>
      </p:sp>
      <p:pic>
        <p:nvPicPr>
          <p:cNvPr id="136194" name="Picture 2" descr="https://docs.microsoft.com/en-us/azure/includes/media/iot-hub-selector-twin-get-started/twi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505" y="2674311"/>
            <a:ext cx="4960647" cy="2531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14004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Reboot</a:t>
            </a:r>
          </a:p>
        </p:txBody>
      </p:sp>
      <p:pic>
        <p:nvPicPr>
          <p:cNvPr id="137218" name="Picture 2" descr="Device management reboot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619" y="2016125"/>
            <a:ext cx="8573129" cy="3949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4437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Factory Reset</a:t>
            </a:r>
          </a:p>
        </p:txBody>
      </p:sp>
      <p:pic>
        <p:nvPicPr>
          <p:cNvPr id="138242" name="Picture 2" descr="Device management factory reset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3804" y="1949450"/>
            <a:ext cx="8873505" cy="4108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89658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Management Patterns – Configuration</a:t>
            </a:r>
          </a:p>
        </p:txBody>
      </p:sp>
      <p:pic>
        <p:nvPicPr>
          <p:cNvPr id="139266" name="Picture 2" descr="Device management configuration pattern 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482" y="1844675"/>
            <a:ext cx="8292209" cy="4212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30394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Patterns – Device to Cloud</a:t>
            </a:r>
          </a:p>
        </p:txBody>
      </p:sp>
      <p:graphicFrame>
        <p:nvGraphicFramePr>
          <p:cNvPr id="5" name="Table 4"/>
          <p:cNvGraphicFramePr>
            <a:graphicFrameLocks noGrp="1"/>
          </p:cNvGraphicFramePr>
          <p:nvPr>
            <p:extLst>
              <p:ext uri="{D42A27DB-BD31-4B8C-83A1-F6EECF244321}">
                <p14:modId xmlns:p14="http://schemas.microsoft.com/office/powerpoint/2010/main" val="4123349143"/>
              </p:ext>
            </p:extLst>
          </p:nvPr>
        </p:nvGraphicFramePr>
        <p:xfrm>
          <a:off x="274637" y="1851359"/>
          <a:ext cx="11704256" cy="4690995"/>
        </p:xfrm>
        <a:graphic>
          <a:graphicData uri="http://schemas.openxmlformats.org/drawingml/2006/table">
            <a:tbl>
              <a:tblPr firstRow="1" bandRow="1">
                <a:tableStyleId>{5C22544A-7EE6-4342-B048-85BDC9FD1C3A}</a:tableStyleId>
              </a:tblPr>
              <a:tblGrid>
                <a:gridCol w="2926064">
                  <a:extLst>
                    <a:ext uri="{9D8B030D-6E8A-4147-A177-3AD203B41FA5}">
                      <a16:colId xmlns:a16="http://schemas.microsoft.com/office/drawing/2014/main" val="4273456223"/>
                    </a:ext>
                  </a:extLst>
                </a:gridCol>
                <a:gridCol w="2926064">
                  <a:extLst>
                    <a:ext uri="{9D8B030D-6E8A-4147-A177-3AD203B41FA5}">
                      <a16:colId xmlns:a16="http://schemas.microsoft.com/office/drawing/2014/main" val="597986686"/>
                    </a:ext>
                  </a:extLst>
                </a:gridCol>
                <a:gridCol w="2926064">
                  <a:extLst>
                    <a:ext uri="{9D8B030D-6E8A-4147-A177-3AD203B41FA5}">
                      <a16:colId xmlns:a16="http://schemas.microsoft.com/office/drawing/2014/main" val="1703921178"/>
                    </a:ext>
                  </a:extLst>
                </a:gridCol>
                <a:gridCol w="2926064">
                  <a:extLst>
                    <a:ext uri="{9D8B030D-6E8A-4147-A177-3AD203B41FA5}">
                      <a16:colId xmlns:a16="http://schemas.microsoft.com/office/drawing/2014/main" val="457693584"/>
                    </a:ext>
                  </a:extLst>
                </a:gridCol>
              </a:tblGrid>
              <a:tr h="776369">
                <a:tc>
                  <a:txBody>
                    <a:bodyPr/>
                    <a:lstStyle/>
                    <a:p>
                      <a:endParaRPr lang="sv-SE" dirty="0"/>
                    </a:p>
                  </a:txBody>
                  <a:tcPr/>
                </a:tc>
                <a:tc>
                  <a:txBody>
                    <a:bodyPr/>
                    <a:lstStyle/>
                    <a:p>
                      <a:r>
                        <a:rPr lang="sv-SE" dirty="0"/>
                        <a:t>Device to Cloud Messages</a:t>
                      </a:r>
                    </a:p>
                  </a:txBody>
                  <a:tcPr/>
                </a:tc>
                <a:tc>
                  <a:txBody>
                    <a:bodyPr/>
                    <a:lstStyle/>
                    <a:p>
                      <a:r>
                        <a:rPr lang="sv-SE" dirty="0"/>
                        <a:t>Reported Properties</a:t>
                      </a:r>
                    </a:p>
                  </a:txBody>
                  <a:tcPr/>
                </a:tc>
                <a:tc>
                  <a:txBody>
                    <a:bodyPr/>
                    <a:lstStyle/>
                    <a:p>
                      <a:r>
                        <a:rPr lang="sv-SE" dirty="0"/>
                        <a:t>File Uploads</a:t>
                      </a:r>
                    </a:p>
                  </a:txBody>
                  <a:tcPr/>
                </a:tc>
                <a:extLst>
                  <a:ext uri="{0D108BD9-81ED-4DB2-BD59-A6C34878D82A}">
                    <a16:rowId xmlns:a16="http://schemas.microsoft.com/office/drawing/2014/main" val="2385533983"/>
                  </a:ext>
                </a:extLst>
              </a:tr>
              <a:tr h="1121434">
                <a:tc>
                  <a:txBody>
                    <a:bodyPr/>
                    <a:lstStyle/>
                    <a:p>
                      <a:r>
                        <a:rPr lang="sv-SE" dirty="0"/>
                        <a:t>Scenario</a:t>
                      </a:r>
                    </a:p>
                  </a:txBody>
                  <a:tcPr/>
                </a:tc>
                <a:tc>
                  <a:txBody>
                    <a:bodyPr/>
                    <a:lstStyle/>
                    <a:p>
                      <a:r>
                        <a:rPr lang="sv-SE" dirty="0"/>
                        <a:t>Telemetry time-series, alerts</a:t>
                      </a:r>
                    </a:p>
                  </a:txBody>
                  <a:tcPr/>
                </a:tc>
                <a:tc>
                  <a:txBody>
                    <a:bodyPr/>
                    <a:lstStyle/>
                    <a:p>
                      <a:r>
                        <a:rPr lang="sv-SE" dirty="0"/>
                        <a:t>Available capabilities, state</a:t>
                      </a:r>
                      <a:r>
                        <a:rPr lang="sv-SE" baseline="0" dirty="0"/>
                        <a:t> (e.g. Wifi or cellular), long-runnign workflows (updates)</a:t>
                      </a:r>
                      <a:endParaRPr lang="sv-SE" dirty="0"/>
                    </a:p>
                  </a:txBody>
                  <a:tcPr/>
                </a:tc>
                <a:tc>
                  <a:txBody>
                    <a:bodyPr/>
                    <a:lstStyle/>
                    <a:p>
                      <a:r>
                        <a:rPr lang="sv-SE" dirty="0"/>
                        <a:t>Media</a:t>
                      </a:r>
                      <a:r>
                        <a:rPr lang="sv-SE" baseline="0" dirty="0"/>
                        <a:t> files</a:t>
                      </a:r>
                      <a:endParaRPr lang="sv-SE" dirty="0"/>
                    </a:p>
                  </a:txBody>
                  <a:tcPr/>
                </a:tc>
                <a:extLst>
                  <a:ext uri="{0D108BD9-81ED-4DB2-BD59-A6C34878D82A}">
                    <a16:rowId xmlns:a16="http://schemas.microsoft.com/office/drawing/2014/main" val="3435151854"/>
                  </a:ext>
                </a:extLst>
              </a:tr>
              <a:tr h="862642">
                <a:tc>
                  <a:txBody>
                    <a:bodyPr/>
                    <a:lstStyle/>
                    <a:p>
                      <a:r>
                        <a:rPr lang="sv-SE" dirty="0"/>
                        <a:t>Storage</a:t>
                      </a:r>
                      <a:r>
                        <a:rPr lang="sv-SE" baseline="0" dirty="0"/>
                        <a:t> and Retrieval</a:t>
                      </a:r>
                      <a:endParaRPr lang="sv-SE" dirty="0"/>
                    </a:p>
                  </a:txBody>
                  <a:tcPr/>
                </a:tc>
                <a:tc>
                  <a:txBody>
                    <a:bodyPr/>
                    <a:lstStyle/>
                    <a:p>
                      <a:r>
                        <a:rPr lang="sv-SE" dirty="0"/>
                        <a:t>Temporarily stored by IOT Hub (7 days), Squential read</a:t>
                      </a:r>
                    </a:p>
                  </a:txBody>
                  <a:tcPr/>
                </a:tc>
                <a:tc>
                  <a:txBody>
                    <a:bodyPr/>
                    <a:lstStyle/>
                    <a:p>
                      <a:r>
                        <a:rPr lang="sv-SE" dirty="0"/>
                        <a:t>Stored in device</a:t>
                      </a:r>
                      <a:r>
                        <a:rPr lang="sv-SE" baseline="0" dirty="0"/>
                        <a:t> twins, retrieved using queries</a:t>
                      </a:r>
                      <a:endParaRPr lang="sv-SE" dirty="0"/>
                    </a:p>
                  </a:txBody>
                  <a:tcPr/>
                </a:tc>
                <a:tc>
                  <a:txBody>
                    <a:bodyPr/>
                    <a:lstStyle/>
                    <a:p>
                      <a:r>
                        <a:rPr lang="sv-SE" dirty="0"/>
                        <a:t>Azure</a:t>
                      </a:r>
                      <a:r>
                        <a:rPr lang="sv-SE" baseline="0" dirty="0"/>
                        <a:t> storage account</a:t>
                      </a:r>
                      <a:endParaRPr lang="sv-SE" dirty="0"/>
                    </a:p>
                  </a:txBody>
                  <a:tcPr/>
                </a:tc>
                <a:extLst>
                  <a:ext uri="{0D108BD9-81ED-4DB2-BD59-A6C34878D82A}">
                    <a16:rowId xmlns:a16="http://schemas.microsoft.com/office/drawing/2014/main" val="3398154563"/>
                  </a:ext>
                </a:extLst>
              </a:tr>
              <a:tr h="517558">
                <a:tc>
                  <a:txBody>
                    <a:bodyPr/>
                    <a:lstStyle/>
                    <a:p>
                      <a:r>
                        <a:rPr lang="sv-SE" dirty="0"/>
                        <a:t>Size</a:t>
                      </a:r>
                    </a:p>
                  </a:txBody>
                  <a:tcPr/>
                </a:tc>
                <a:tc>
                  <a:txBody>
                    <a:bodyPr/>
                    <a:lstStyle/>
                    <a:p>
                      <a:r>
                        <a:rPr lang="sv-SE" dirty="0"/>
                        <a:t>256 KB</a:t>
                      </a:r>
                    </a:p>
                  </a:txBody>
                  <a:tcPr/>
                </a:tc>
                <a:tc>
                  <a:txBody>
                    <a:bodyPr/>
                    <a:lstStyle/>
                    <a:p>
                      <a:r>
                        <a:rPr lang="sv-SE" dirty="0"/>
                        <a:t>8 KB</a:t>
                      </a:r>
                    </a:p>
                  </a:txBody>
                  <a:tcPr/>
                </a:tc>
                <a:tc>
                  <a:txBody>
                    <a:bodyPr/>
                    <a:lstStyle/>
                    <a:p>
                      <a:r>
                        <a:rPr lang="sv-SE" dirty="0"/>
                        <a:t>Azure Blob Storage</a:t>
                      </a:r>
                    </a:p>
                  </a:txBody>
                  <a:tcPr/>
                </a:tc>
                <a:extLst>
                  <a:ext uri="{0D108BD9-81ED-4DB2-BD59-A6C34878D82A}">
                    <a16:rowId xmlns:a16="http://schemas.microsoft.com/office/drawing/2014/main" val="2762866165"/>
                  </a:ext>
                </a:extLst>
              </a:tr>
              <a:tr h="517579">
                <a:tc>
                  <a:txBody>
                    <a:bodyPr/>
                    <a:lstStyle/>
                    <a:p>
                      <a:r>
                        <a:rPr lang="sv-SE" dirty="0"/>
                        <a:t>Frequency</a:t>
                      </a:r>
                    </a:p>
                  </a:txBody>
                  <a:tcPr/>
                </a:tc>
                <a:tc>
                  <a:txBody>
                    <a:bodyPr/>
                    <a:lstStyle/>
                    <a:p>
                      <a:r>
                        <a:rPr lang="sv-SE" dirty="0"/>
                        <a:t>High</a:t>
                      </a:r>
                    </a:p>
                  </a:txBody>
                  <a:tcPr/>
                </a:tc>
                <a:tc>
                  <a:txBody>
                    <a:bodyPr/>
                    <a:lstStyle/>
                    <a:p>
                      <a:r>
                        <a:rPr lang="sv-SE" dirty="0"/>
                        <a:t>Medium</a:t>
                      </a:r>
                    </a:p>
                  </a:txBody>
                  <a:tcPr/>
                </a:tc>
                <a:tc>
                  <a:txBody>
                    <a:bodyPr/>
                    <a:lstStyle/>
                    <a:p>
                      <a:r>
                        <a:rPr lang="sv-SE" dirty="0"/>
                        <a:t>Low</a:t>
                      </a:r>
                    </a:p>
                  </a:txBody>
                  <a:tcPr/>
                </a:tc>
                <a:extLst>
                  <a:ext uri="{0D108BD9-81ED-4DB2-BD59-A6C34878D82A}">
                    <a16:rowId xmlns:a16="http://schemas.microsoft.com/office/drawing/2014/main" val="4158861336"/>
                  </a:ext>
                </a:extLst>
              </a:tr>
              <a:tr h="776369">
                <a:tc>
                  <a:txBody>
                    <a:bodyPr/>
                    <a:lstStyle/>
                    <a:p>
                      <a:r>
                        <a:rPr lang="sv-SE" dirty="0"/>
                        <a:t>Protocol</a:t>
                      </a:r>
                    </a:p>
                  </a:txBody>
                  <a:tcPr/>
                </a:tc>
                <a:tc>
                  <a:txBody>
                    <a:bodyPr/>
                    <a:lstStyle/>
                    <a:p>
                      <a:r>
                        <a:rPr lang="sv-SE" dirty="0"/>
                        <a:t>All protocols</a:t>
                      </a:r>
                    </a:p>
                  </a:txBody>
                  <a:tcPr/>
                </a:tc>
                <a:tc>
                  <a:txBody>
                    <a:bodyPr/>
                    <a:lstStyle/>
                    <a:p>
                      <a:r>
                        <a:rPr lang="sv-SE" dirty="0"/>
                        <a:t>MQTT</a:t>
                      </a:r>
                    </a:p>
                  </a:txBody>
                  <a:tcPr/>
                </a:tc>
                <a:tc>
                  <a:txBody>
                    <a:bodyPr/>
                    <a:lstStyle/>
                    <a:p>
                      <a:r>
                        <a:rPr lang="sv-SE" dirty="0"/>
                        <a:t>All Protocols</a:t>
                      </a:r>
                    </a:p>
                  </a:txBody>
                  <a:tcPr/>
                </a:tc>
                <a:extLst>
                  <a:ext uri="{0D108BD9-81ED-4DB2-BD59-A6C34878D82A}">
                    <a16:rowId xmlns:a16="http://schemas.microsoft.com/office/drawing/2014/main" val="944323335"/>
                  </a:ext>
                </a:extLst>
              </a:tr>
            </a:tbl>
          </a:graphicData>
        </a:graphic>
      </p:graphicFrame>
    </p:spTree>
    <p:extLst>
      <p:ext uri="{BB962C8B-B14F-4D97-AF65-F5344CB8AC3E}">
        <p14:creationId xmlns:p14="http://schemas.microsoft.com/office/powerpoint/2010/main" val="410805772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 Patterns – Cloud to Device</a:t>
            </a:r>
          </a:p>
        </p:txBody>
      </p:sp>
      <p:graphicFrame>
        <p:nvGraphicFramePr>
          <p:cNvPr id="5" name="Table 4"/>
          <p:cNvGraphicFramePr>
            <a:graphicFrameLocks noGrp="1"/>
          </p:cNvGraphicFramePr>
          <p:nvPr>
            <p:extLst>
              <p:ext uri="{D42A27DB-BD31-4B8C-83A1-F6EECF244321}">
                <p14:modId xmlns:p14="http://schemas.microsoft.com/office/powerpoint/2010/main" val="611263960"/>
              </p:ext>
            </p:extLst>
          </p:nvPr>
        </p:nvGraphicFramePr>
        <p:xfrm>
          <a:off x="274637" y="1302726"/>
          <a:ext cx="11704256" cy="5622637"/>
        </p:xfrm>
        <a:graphic>
          <a:graphicData uri="http://schemas.openxmlformats.org/drawingml/2006/table">
            <a:tbl>
              <a:tblPr firstRow="1" bandRow="1">
                <a:tableStyleId>{5C22544A-7EE6-4342-B048-85BDC9FD1C3A}</a:tableStyleId>
              </a:tblPr>
              <a:tblGrid>
                <a:gridCol w="2926064">
                  <a:extLst>
                    <a:ext uri="{9D8B030D-6E8A-4147-A177-3AD203B41FA5}">
                      <a16:colId xmlns:a16="http://schemas.microsoft.com/office/drawing/2014/main" val="4273456223"/>
                    </a:ext>
                  </a:extLst>
                </a:gridCol>
                <a:gridCol w="2926064">
                  <a:extLst>
                    <a:ext uri="{9D8B030D-6E8A-4147-A177-3AD203B41FA5}">
                      <a16:colId xmlns:a16="http://schemas.microsoft.com/office/drawing/2014/main" val="597986686"/>
                    </a:ext>
                  </a:extLst>
                </a:gridCol>
                <a:gridCol w="2926064">
                  <a:extLst>
                    <a:ext uri="{9D8B030D-6E8A-4147-A177-3AD203B41FA5}">
                      <a16:colId xmlns:a16="http://schemas.microsoft.com/office/drawing/2014/main" val="1703921178"/>
                    </a:ext>
                  </a:extLst>
                </a:gridCol>
                <a:gridCol w="2926064">
                  <a:extLst>
                    <a:ext uri="{9D8B030D-6E8A-4147-A177-3AD203B41FA5}">
                      <a16:colId xmlns:a16="http://schemas.microsoft.com/office/drawing/2014/main" val="457693584"/>
                    </a:ext>
                  </a:extLst>
                </a:gridCol>
              </a:tblGrid>
              <a:tr h="776369">
                <a:tc>
                  <a:txBody>
                    <a:bodyPr/>
                    <a:lstStyle/>
                    <a:p>
                      <a:endParaRPr lang="sv-SE" dirty="0"/>
                    </a:p>
                  </a:txBody>
                  <a:tcPr/>
                </a:tc>
                <a:tc>
                  <a:txBody>
                    <a:bodyPr/>
                    <a:lstStyle/>
                    <a:p>
                      <a:r>
                        <a:rPr lang="sv-SE" dirty="0"/>
                        <a:t>Direct Methods</a:t>
                      </a:r>
                    </a:p>
                  </a:txBody>
                  <a:tcPr/>
                </a:tc>
                <a:tc>
                  <a:txBody>
                    <a:bodyPr/>
                    <a:lstStyle/>
                    <a:p>
                      <a:r>
                        <a:rPr lang="sv-SE" dirty="0"/>
                        <a:t>Desired Properties</a:t>
                      </a:r>
                    </a:p>
                  </a:txBody>
                  <a:tcPr/>
                </a:tc>
                <a:tc>
                  <a:txBody>
                    <a:bodyPr/>
                    <a:lstStyle/>
                    <a:p>
                      <a:r>
                        <a:rPr lang="sv-SE" dirty="0"/>
                        <a:t>Cloud to Device messages</a:t>
                      </a:r>
                    </a:p>
                  </a:txBody>
                  <a:tcPr/>
                </a:tc>
                <a:extLst>
                  <a:ext uri="{0D108BD9-81ED-4DB2-BD59-A6C34878D82A}">
                    <a16:rowId xmlns:a16="http://schemas.microsoft.com/office/drawing/2014/main" val="2385533983"/>
                  </a:ext>
                </a:extLst>
              </a:tr>
              <a:tr h="1121434">
                <a:tc>
                  <a:txBody>
                    <a:bodyPr/>
                    <a:lstStyle/>
                    <a:p>
                      <a:r>
                        <a:rPr lang="sv-SE" dirty="0"/>
                        <a:t>Scenario</a:t>
                      </a:r>
                    </a:p>
                  </a:txBody>
                  <a:tcPr/>
                </a:tc>
                <a:tc>
                  <a:txBody>
                    <a:bodyPr/>
                    <a:lstStyle/>
                    <a:p>
                      <a:r>
                        <a:rPr lang="sv-SE" dirty="0"/>
                        <a:t>Immediate</a:t>
                      </a:r>
                      <a:r>
                        <a:rPr lang="sv-SE" baseline="0" dirty="0"/>
                        <a:t> confirmation (turn on/off a sensor)</a:t>
                      </a:r>
                      <a:endParaRPr lang="sv-SE" dirty="0"/>
                    </a:p>
                  </a:txBody>
                  <a:tcPr/>
                </a:tc>
                <a:tc>
                  <a:txBody>
                    <a:bodyPr/>
                    <a:lstStyle/>
                    <a:p>
                      <a:r>
                        <a:rPr lang="sv-SE" dirty="0"/>
                        <a:t>Long running commands to put device in certain state (change interval)</a:t>
                      </a:r>
                    </a:p>
                  </a:txBody>
                  <a:tcPr/>
                </a:tc>
                <a:tc>
                  <a:txBody>
                    <a:bodyPr/>
                    <a:lstStyle/>
                    <a:p>
                      <a:r>
                        <a:rPr lang="sv-SE" dirty="0"/>
                        <a:t>One</a:t>
                      </a:r>
                      <a:r>
                        <a:rPr lang="sv-SE" baseline="0" dirty="0"/>
                        <a:t> way notification to device app</a:t>
                      </a:r>
                      <a:endParaRPr lang="sv-SE" dirty="0"/>
                    </a:p>
                  </a:txBody>
                  <a:tcPr/>
                </a:tc>
                <a:extLst>
                  <a:ext uri="{0D108BD9-81ED-4DB2-BD59-A6C34878D82A}">
                    <a16:rowId xmlns:a16="http://schemas.microsoft.com/office/drawing/2014/main" val="3435151854"/>
                  </a:ext>
                </a:extLst>
              </a:tr>
              <a:tr h="862642">
                <a:tc>
                  <a:txBody>
                    <a:bodyPr/>
                    <a:lstStyle/>
                    <a:p>
                      <a:r>
                        <a:rPr lang="sv-SE" dirty="0"/>
                        <a:t>Data flow</a:t>
                      </a:r>
                    </a:p>
                  </a:txBody>
                  <a:tcPr/>
                </a:tc>
                <a:tc>
                  <a:txBody>
                    <a:bodyPr/>
                    <a:lstStyle/>
                    <a:p>
                      <a:r>
                        <a:rPr lang="sv-SE" dirty="0"/>
                        <a:t>Two-way (from device app to solution backend)</a:t>
                      </a:r>
                    </a:p>
                  </a:txBody>
                  <a:tcPr/>
                </a:tc>
                <a:tc>
                  <a:txBody>
                    <a:bodyPr/>
                    <a:lstStyle/>
                    <a:p>
                      <a:r>
                        <a:rPr lang="sv-SE" dirty="0"/>
                        <a:t>One-way</a:t>
                      </a:r>
                      <a:r>
                        <a:rPr lang="sv-SE" baseline="0" dirty="0"/>
                        <a:t> (device app receives notification with property change)</a:t>
                      </a:r>
                      <a:endParaRPr lang="sv-SE" dirty="0"/>
                    </a:p>
                  </a:txBody>
                  <a:tcPr/>
                </a:tc>
                <a:tc>
                  <a:txBody>
                    <a:bodyPr/>
                    <a:lstStyle/>
                    <a:p>
                      <a:r>
                        <a:rPr lang="sv-SE" dirty="0"/>
                        <a:t>One-way (device app receieves</a:t>
                      </a:r>
                      <a:r>
                        <a:rPr lang="sv-SE" baseline="0" dirty="0"/>
                        <a:t> the message)</a:t>
                      </a:r>
                      <a:endParaRPr lang="sv-SE" dirty="0"/>
                    </a:p>
                  </a:txBody>
                  <a:tcPr/>
                </a:tc>
                <a:extLst>
                  <a:ext uri="{0D108BD9-81ED-4DB2-BD59-A6C34878D82A}">
                    <a16:rowId xmlns:a16="http://schemas.microsoft.com/office/drawing/2014/main" val="3398154563"/>
                  </a:ext>
                </a:extLst>
              </a:tr>
              <a:tr h="517558">
                <a:tc>
                  <a:txBody>
                    <a:bodyPr/>
                    <a:lstStyle/>
                    <a:p>
                      <a:r>
                        <a:rPr lang="sv-SE" dirty="0"/>
                        <a:t>Durability</a:t>
                      </a:r>
                    </a:p>
                  </a:txBody>
                  <a:tcPr/>
                </a:tc>
                <a:tc>
                  <a:txBody>
                    <a:bodyPr/>
                    <a:lstStyle/>
                    <a:p>
                      <a:r>
                        <a:rPr lang="sv-SE" dirty="0"/>
                        <a:t>Disconnected devices missed</a:t>
                      </a:r>
                    </a:p>
                  </a:txBody>
                  <a:tcPr/>
                </a:tc>
                <a:tc>
                  <a:txBody>
                    <a:bodyPr/>
                    <a:lstStyle/>
                    <a:p>
                      <a:r>
                        <a:rPr lang="sv-SE" dirty="0"/>
                        <a:t>Preserved in device twin</a:t>
                      </a:r>
                      <a:r>
                        <a:rPr lang="sv-SE" baseline="0" dirty="0"/>
                        <a:t> (disconnected device reads upon reconnection)</a:t>
                      </a:r>
                      <a:endParaRPr lang="sv-SE" dirty="0"/>
                    </a:p>
                  </a:txBody>
                  <a:tcPr/>
                </a:tc>
                <a:tc>
                  <a:txBody>
                    <a:bodyPr/>
                    <a:lstStyle/>
                    <a:p>
                      <a:r>
                        <a:rPr lang="sv-SE" dirty="0"/>
                        <a:t>48 hours</a:t>
                      </a:r>
                    </a:p>
                  </a:txBody>
                  <a:tcPr/>
                </a:tc>
                <a:extLst>
                  <a:ext uri="{0D108BD9-81ED-4DB2-BD59-A6C34878D82A}">
                    <a16:rowId xmlns:a16="http://schemas.microsoft.com/office/drawing/2014/main" val="2762866165"/>
                  </a:ext>
                </a:extLst>
              </a:tr>
              <a:tr h="517579">
                <a:tc>
                  <a:txBody>
                    <a:bodyPr/>
                    <a:lstStyle/>
                    <a:p>
                      <a:r>
                        <a:rPr lang="sv-SE" dirty="0"/>
                        <a:t>Target</a:t>
                      </a:r>
                    </a:p>
                  </a:txBody>
                  <a:tcPr/>
                </a:tc>
                <a:tc>
                  <a:txBody>
                    <a:bodyPr/>
                    <a:lstStyle/>
                    <a:p>
                      <a:r>
                        <a:rPr lang="sv-SE" dirty="0"/>
                        <a:t>Single</a:t>
                      </a:r>
                      <a:r>
                        <a:rPr lang="sv-SE" baseline="0" dirty="0"/>
                        <a:t> device (deviceId), Jobs for broadcast</a:t>
                      </a:r>
                      <a:endParaRPr lang="sv-SE" dirty="0"/>
                    </a:p>
                  </a:txBody>
                  <a:tcPr/>
                </a:tc>
                <a:tc>
                  <a: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lang="sv-SE" dirty="0"/>
                        <a:t>Single</a:t>
                      </a:r>
                      <a:r>
                        <a:rPr lang="sv-SE" baseline="0" dirty="0"/>
                        <a:t> device (deviceId), Jobs for broadcast</a:t>
                      </a:r>
                      <a:endParaRPr lang="sv-SE" dirty="0"/>
                    </a:p>
                  </a:txBody>
                  <a:tcPr/>
                </a:tc>
                <a:tc>
                  <a:txBody>
                    <a:bodyPr/>
                    <a:lstStyle/>
                    <a:p>
                      <a:r>
                        <a:rPr lang="sv-SE" dirty="0"/>
                        <a:t>Single device (deviceId)</a:t>
                      </a:r>
                    </a:p>
                  </a:txBody>
                  <a:tcPr/>
                </a:tc>
                <a:extLst>
                  <a:ext uri="{0D108BD9-81ED-4DB2-BD59-A6C34878D82A}">
                    <a16:rowId xmlns:a16="http://schemas.microsoft.com/office/drawing/2014/main" val="4158861336"/>
                  </a:ext>
                </a:extLst>
              </a:tr>
              <a:tr h="479585">
                <a:tc>
                  <a:txBody>
                    <a:bodyPr/>
                    <a:lstStyle/>
                    <a:p>
                      <a:r>
                        <a:rPr lang="sv-SE" dirty="0"/>
                        <a:t>Frequency</a:t>
                      </a:r>
                    </a:p>
                  </a:txBody>
                  <a:tcPr/>
                </a:tc>
                <a:tc>
                  <a:txBody>
                    <a:bodyPr/>
                    <a:lstStyle/>
                    <a:p>
                      <a:r>
                        <a:rPr lang="sv-SE" dirty="0"/>
                        <a:t>High</a:t>
                      </a:r>
                    </a:p>
                  </a:txBody>
                  <a:tcPr/>
                </a:tc>
                <a:tc>
                  <a:txBody>
                    <a:bodyPr/>
                    <a:lstStyle/>
                    <a:p>
                      <a:r>
                        <a:rPr lang="sv-SE" dirty="0"/>
                        <a:t>Medium</a:t>
                      </a:r>
                    </a:p>
                  </a:txBody>
                  <a:tcPr/>
                </a:tc>
                <a:tc>
                  <a:txBody>
                    <a:bodyPr/>
                    <a:lstStyle/>
                    <a:p>
                      <a:r>
                        <a:rPr lang="sv-SE" dirty="0"/>
                        <a:t>Low</a:t>
                      </a:r>
                    </a:p>
                  </a:txBody>
                  <a:tcPr/>
                </a:tc>
                <a:extLst>
                  <a:ext uri="{0D108BD9-81ED-4DB2-BD59-A6C34878D82A}">
                    <a16:rowId xmlns:a16="http://schemas.microsoft.com/office/drawing/2014/main" val="944323335"/>
                  </a:ext>
                </a:extLst>
              </a:tr>
              <a:tr h="776369">
                <a:tc>
                  <a:txBody>
                    <a:bodyPr/>
                    <a:lstStyle/>
                    <a:p>
                      <a:r>
                        <a:rPr lang="sv-SE" dirty="0"/>
                        <a:t>Size</a:t>
                      </a:r>
                    </a:p>
                  </a:txBody>
                  <a:tcPr/>
                </a:tc>
                <a:tc>
                  <a:txBody>
                    <a:bodyPr/>
                    <a:lstStyle/>
                    <a:p>
                      <a:r>
                        <a:rPr lang="sv-SE" dirty="0"/>
                        <a:t>8 KB (request &amp; response)</a:t>
                      </a:r>
                    </a:p>
                  </a:txBody>
                  <a:tcPr/>
                </a:tc>
                <a:tc>
                  <a:txBody>
                    <a:bodyPr/>
                    <a:lstStyle/>
                    <a:p>
                      <a:r>
                        <a:rPr lang="sv-SE" dirty="0"/>
                        <a:t>8 KB</a:t>
                      </a:r>
                    </a:p>
                  </a:txBody>
                  <a:tcPr/>
                </a:tc>
                <a:tc>
                  <a:txBody>
                    <a:bodyPr/>
                    <a:lstStyle/>
                    <a:p>
                      <a:r>
                        <a:rPr lang="sv-SE" dirty="0"/>
                        <a:t>64 KB</a:t>
                      </a:r>
                    </a:p>
                  </a:txBody>
                  <a:tcPr/>
                </a:tc>
                <a:extLst>
                  <a:ext uri="{0D108BD9-81ED-4DB2-BD59-A6C34878D82A}">
                    <a16:rowId xmlns:a16="http://schemas.microsoft.com/office/drawing/2014/main" val="3878237865"/>
                  </a:ext>
                </a:extLst>
              </a:tr>
            </a:tbl>
          </a:graphicData>
        </a:graphic>
      </p:graphicFrame>
    </p:spTree>
    <p:extLst>
      <p:ext uri="{BB962C8B-B14F-4D97-AF65-F5344CB8AC3E}">
        <p14:creationId xmlns:p14="http://schemas.microsoft.com/office/powerpoint/2010/main" val="2734224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oT Hub endpoints</a:t>
            </a:r>
          </a:p>
        </p:txBody>
      </p:sp>
      <p:sp>
        <p:nvSpPr>
          <p:cNvPr id="19" name="device"/>
          <p:cNvSpPr/>
          <p:nvPr/>
        </p:nvSpPr>
        <p:spPr bwMode="auto">
          <a:xfrm>
            <a:off x="1097653" y="2930880"/>
            <a:ext cx="1340612" cy="137156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a:t>
            </a:r>
          </a:p>
        </p:txBody>
      </p:sp>
      <p:sp>
        <p:nvSpPr>
          <p:cNvPr id="25" name="Event processing"/>
          <p:cNvSpPr/>
          <p:nvPr/>
        </p:nvSpPr>
        <p:spPr>
          <a:xfrm>
            <a:off x="9071468" y="2400150"/>
            <a:ext cx="2889425" cy="76201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Event processing</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hot and cold path)</a:t>
            </a:r>
          </a:p>
        </p:txBody>
      </p:sp>
      <p:sp>
        <p:nvSpPr>
          <p:cNvPr id="27" name="Device provisioning"/>
          <p:cNvSpPr/>
          <p:nvPr/>
        </p:nvSpPr>
        <p:spPr>
          <a:xfrm>
            <a:off x="9071468" y="5188642"/>
            <a:ext cx="2889425" cy="78718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provisioning </a:t>
            </a:r>
            <a:br>
              <a:rPr lang="en-US" sz="1400" dirty="0">
                <a:solidFill>
                  <a:schemeClr val="tx1"/>
                </a:solidFill>
                <a:latin typeface="Segoe UI Semibold" panose="020B0702040204020203" pitchFamily="34" charset="0"/>
                <a:ea typeface="Segoe UI" pitchFamily="34" charset="0"/>
                <a:cs typeface="Segoe UI" pitchFamily="34" charset="0"/>
              </a:rPr>
            </a:br>
            <a:r>
              <a:rPr lang="en-US" sz="1400" dirty="0">
                <a:solidFill>
                  <a:schemeClr val="tx1"/>
                </a:solidFill>
                <a:latin typeface="Segoe UI Semibold" panose="020B0702040204020203" pitchFamily="34" charset="0"/>
                <a:ea typeface="Segoe UI" pitchFamily="34" charset="0"/>
                <a:cs typeface="Segoe UI" pitchFamily="34" charset="0"/>
              </a:rPr>
              <a:t>and management</a:t>
            </a:r>
          </a:p>
        </p:txBody>
      </p:sp>
      <p:sp>
        <p:nvSpPr>
          <p:cNvPr id="7" name="IoT Hub"/>
          <p:cNvSpPr/>
          <p:nvPr/>
        </p:nvSpPr>
        <p:spPr bwMode="auto">
          <a:xfrm>
            <a:off x="3639983" y="2308724"/>
            <a:ext cx="4205598"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Your IoT Hub</a:t>
            </a:r>
          </a:p>
        </p:txBody>
      </p:sp>
      <p:grpSp>
        <p:nvGrpSpPr>
          <p:cNvPr id="11" name="Device … 1"/>
          <p:cNvGrpSpPr/>
          <p:nvPr/>
        </p:nvGrpSpPr>
        <p:grpSpPr>
          <a:xfrm>
            <a:off x="3548558" y="2857280"/>
            <a:ext cx="1371391" cy="1554243"/>
            <a:chOff x="1829165" y="3680140"/>
            <a:chExt cx="1371585" cy="1554464"/>
          </a:xfrm>
        </p:grpSpPr>
        <p:sp>
          <p:nvSpPr>
            <p:cNvPr id="8" name="Rectangle 7"/>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a:t>
              </a:r>
            </a:p>
          </p:txBody>
        </p:sp>
        <p:sp>
          <p:nvSpPr>
            <p:cNvPr id="9" name="Rectangle 8"/>
            <p:cNvSpPr/>
            <p:nvPr/>
          </p:nvSpPr>
          <p:spPr bwMode="auto">
            <a:xfrm>
              <a:off x="2012042" y="4340636"/>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10" name="Rectangle 9"/>
            <p:cNvSpPr/>
            <p:nvPr/>
          </p:nvSpPr>
          <p:spPr bwMode="auto">
            <a:xfrm>
              <a:off x="2012041" y="3792002"/>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12" name="Device … 2"/>
          <p:cNvSpPr/>
          <p:nvPr/>
        </p:nvSpPr>
        <p:spPr bwMode="auto">
          <a:xfrm>
            <a:off x="3548558" y="459437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3" name="Device …3"/>
          <p:cNvSpPr/>
          <p:nvPr/>
        </p:nvSpPr>
        <p:spPr bwMode="auto">
          <a:xfrm>
            <a:off x="3548558" y="507657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4" name="Device …4"/>
          <p:cNvSpPr/>
          <p:nvPr/>
        </p:nvSpPr>
        <p:spPr bwMode="auto">
          <a:xfrm>
            <a:off x="3548555" y="5517635"/>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a:t>
            </a:r>
          </a:p>
        </p:txBody>
      </p:sp>
      <p:sp>
        <p:nvSpPr>
          <p:cNvPr id="15" name="D2C receive endpoint"/>
          <p:cNvSpPr/>
          <p:nvPr/>
        </p:nvSpPr>
        <p:spPr bwMode="auto">
          <a:xfrm>
            <a:off x="6565617" y="2857280"/>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2C receive endpoint</a:t>
            </a:r>
          </a:p>
        </p:txBody>
      </p:sp>
      <p:sp>
        <p:nvSpPr>
          <p:cNvPr id="16" name="C2D send endpoint"/>
          <p:cNvSpPr/>
          <p:nvPr/>
        </p:nvSpPr>
        <p:spPr bwMode="auto">
          <a:xfrm>
            <a:off x="6565617" y="3771539"/>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C2D send endpoint</a:t>
            </a:r>
          </a:p>
        </p:txBody>
      </p:sp>
      <p:sp>
        <p:nvSpPr>
          <p:cNvPr id="17" name="Msg feedback"/>
          <p:cNvSpPr/>
          <p:nvPr/>
        </p:nvSpPr>
        <p:spPr bwMode="auto">
          <a:xfrm>
            <a:off x="6565616" y="4411524"/>
            <a:ext cx="1371391" cy="7771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err="1">
                <a:solidFill>
                  <a:schemeClr val="tx1"/>
                </a:solidFill>
                <a:latin typeface="Segoe UI Semibold" panose="020B0702040204020203" pitchFamily="34" charset="0"/>
                <a:ea typeface="Segoe UI" pitchFamily="34" charset="0"/>
                <a:cs typeface="Segoe UI" pitchFamily="34" charset="0"/>
              </a:rPr>
              <a:t>Msg</a:t>
            </a:r>
            <a:r>
              <a:rPr lang="en-US" sz="1100" dirty="0">
                <a:solidFill>
                  <a:schemeClr val="tx1"/>
                </a:solidFill>
                <a:latin typeface="Segoe UI Semibold" panose="020B0702040204020203" pitchFamily="34" charset="0"/>
                <a:ea typeface="Segoe UI" pitchFamily="34" charset="0"/>
                <a:cs typeface="Segoe UI" pitchFamily="34" charset="0"/>
              </a:rPr>
              <a:t> feedback </a:t>
            </a:r>
            <a:br>
              <a:rPr lang="en-US" sz="1100" dirty="0">
                <a:solidFill>
                  <a:schemeClr val="tx1"/>
                </a:solidFill>
                <a:latin typeface="Segoe UI Semibold" panose="020B0702040204020203" pitchFamily="34" charset="0"/>
                <a:ea typeface="Segoe UI" pitchFamily="34" charset="0"/>
                <a:cs typeface="Segoe UI" pitchFamily="34" charset="0"/>
              </a:rPr>
            </a:br>
            <a:r>
              <a:rPr lang="en-US" sz="1100" dirty="0">
                <a:solidFill>
                  <a:schemeClr val="tx1"/>
                </a:solidFill>
                <a:latin typeface="Segoe UI Semibold" panose="020B0702040204020203" pitchFamily="34" charset="0"/>
                <a:ea typeface="Segoe UI" pitchFamily="34" charset="0"/>
                <a:cs typeface="Segoe UI" pitchFamily="34" charset="0"/>
              </a:rPr>
              <a:t>and monitoring endpoint</a:t>
            </a:r>
          </a:p>
        </p:txBody>
      </p:sp>
      <p:sp>
        <p:nvSpPr>
          <p:cNvPr id="28" name="Device identity management"/>
          <p:cNvSpPr/>
          <p:nvPr/>
        </p:nvSpPr>
        <p:spPr bwMode="auto">
          <a:xfrm>
            <a:off x="6565615" y="5259423"/>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Device identity management</a:t>
            </a:r>
          </a:p>
        </p:txBody>
      </p:sp>
      <p:sp>
        <p:nvSpPr>
          <p:cNvPr id="29" name="IoT Hub management"/>
          <p:cNvSpPr/>
          <p:nvPr/>
        </p:nvSpPr>
        <p:spPr bwMode="auto">
          <a:xfrm>
            <a:off x="5059305" y="5442276"/>
            <a:ext cx="1371391" cy="64165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latin typeface="Segoe UI Semibold" panose="020B0702040204020203" pitchFamily="34" charset="0"/>
                <a:ea typeface="Segoe UI" pitchFamily="34" charset="0"/>
                <a:cs typeface="Segoe UI" pitchFamily="34" charset="0"/>
              </a:rPr>
              <a:t>IoT Hub management</a:t>
            </a:r>
          </a:p>
        </p:txBody>
      </p:sp>
      <p:cxnSp>
        <p:nvCxnSpPr>
          <p:cNvPr id="90" name="Straight Arrow Connector 89"/>
          <p:cNvCxnSpPr/>
          <p:nvPr/>
        </p:nvCxnSpPr>
        <p:spPr>
          <a:xfrm>
            <a:off x="2524485" y="3174869"/>
            <a:ext cx="950582" cy="0"/>
          </a:xfrm>
          <a:prstGeom prst="straightConnector1">
            <a:avLst/>
          </a:prstGeom>
          <a:ln w="38100">
            <a:solidFill>
              <a:srgbClr val="777777"/>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1" name="Event processing"/>
          <p:cNvGrpSpPr/>
          <p:nvPr/>
        </p:nvGrpSpPr>
        <p:grpSpPr>
          <a:xfrm>
            <a:off x="11247383" y="2484601"/>
            <a:ext cx="548634" cy="555461"/>
            <a:chOff x="3876323" y="2412935"/>
            <a:chExt cx="981584" cy="1503227"/>
          </a:xfrm>
        </p:grpSpPr>
        <p:grpSp>
          <p:nvGrpSpPr>
            <p:cNvPr id="32" name="Group 31"/>
            <p:cNvGrpSpPr/>
            <p:nvPr/>
          </p:nvGrpSpPr>
          <p:grpSpPr>
            <a:xfrm>
              <a:off x="4075337" y="2655193"/>
              <a:ext cx="640701" cy="978962"/>
              <a:chOff x="3978978" y="2691315"/>
              <a:chExt cx="745467" cy="1374671"/>
            </a:xfrm>
          </p:grpSpPr>
          <p:sp>
            <p:nvSpPr>
              <p:cNvPr id="35" name="Rectangle 34"/>
              <p:cNvSpPr/>
              <p:nvPr>
                <p:custDataLst>
                  <p:tags r:id="rId7"/>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Rectangle 35"/>
              <p:cNvSpPr/>
              <p:nvPr>
                <p:custDataLst>
                  <p:tags r:id="rId8"/>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7" name="Rectangle 36"/>
              <p:cNvSpPr/>
              <p:nvPr>
                <p:custDataLst>
                  <p:tags r:id="rId9"/>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8" name="Rectangle 37"/>
              <p:cNvSpPr/>
              <p:nvPr>
                <p:custDataLst>
                  <p:tags r:id="rId10"/>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9" name="Rectangle 38"/>
              <p:cNvSpPr/>
              <p:nvPr>
                <p:custDataLst>
                  <p:tags r:id="rId11"/>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40" name="Rectangle 39"/>
              <p:cNvSpPr/>
              <p:nvPr>
                <p:custDataLst>
                  <p:tags r:id="rId12"/>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33" name="Freeform 32"/>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33"/>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cxnSp>
        <p:nvCxnSpPr>
          <p:cNvPr id="53" name="Straight Arrow Connector 52"/>
          <p:cNvCxnSpPr/>
          <p:nvPr/>
        </p:nvCxnSpPr>
        <p:spPr>
          <a:xfrm>
            <a:off x="2524485" y="371295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2524485" y="4788547"/>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2524485" y="5279246"/>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a:off x="2524485" y="5763103"/>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8047017" y="3131506"/>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a:off x="8047017" y="3539704"/>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8047017" y="4149056"/>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8047017" y="4715800"/>
            <a:ext cx="950582" cy="0"/>
          </a:xfrm>
          <a:prstGeom prst="straightConnector1">
            <a:avLst/>
          </a:prstGeom>
          <a:ln w="38100">
            <a:solidFill>
              <a:srgbClr val="777777"/>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8047017" y="5719740"/>
            <a:ext cx="950582" cy="0"/>
          </a:xfrm>
          <a:prstGeom prst="straightConnector1">
            <a:avLst/>
          </a:prstGeom>
          <a:ln w="38100">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47" name="Device … 2"/>
          <p:cNvGrpSpPr/>
          <p:nvPr/>
        </p:nvGrpSpPr>
        <p:grpSpPr>
          <a:xfrm>
            <a:off x="4596994" y="4619455"/>
            <a:ext cx="190516" cy="315544"/>
            <a:chOff x="4593735" y="4663834"/>
            <a:chExt cx="152594" cy="252735"/>
          </a:xfrm>
        </p:grpSpPr>
        <p:sp>
          <p:nvSpPr>
            <p:cNvPr id="73"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4"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2" name="device"/>
          <p:cNvGrpSpPr/>
          <p:nvPr/>
        </p:nvGrpSpPr>
        <p:grpSpPr>
          <a:xfrm>
            <a:off x="1293353" y="3131506"/>
            <a:ext cx="914361" cy="878094"/>
            <a:chOff x="1293353" y="3131506"/>
            <a:chExt cx="914361" cy="878094"/>
          </a:xfrm>
        </p:grpSpPr>
        <p:grpSp>
          <p:nvGrpSpPr>
            <p:cNvPr id="67" name="Group 66"/>
            <p:cNvGrpSpPr/>
            <p:nvPr/>
          </p:nvGrpSpPr>
          <p:grpSpPr>
            <a:xfrm>
              <a:off x="1293353" y="3201595"/>
              <a:ext cx="349840" cy="579424"/>
              <a:chOff x="1763317" y="5394932"/>
              <a:chExt cx="349840" cy="579424"/>
            </a:xfrm>
          </p:grpSpPr>
          <p:sp>
            <p:nvSpPr>
              <p:cNvPr id="68" name="Freeform 13"/>
              <p:cNvSpPr>
                <a:spLocks noEditPoints="1"/>
              </p:cNvSpPr>
              <p:nvPr/>
            </p:nvSpPr>
            <p:spPr bwMode="auto">
              <a:xfrm>
                <a:off x="1763317" y="5394932"/>
                <a:ext cx="294924" cy="198821"/>
              </a:xfrm>
              <a:prstGeom prst="frame">
                <a:avLst/>
              </a:prstGeom>
              <a:solidFill>
                <a:srgbClr val="86BE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69" name="Freeform 15"/>
              <p:cNvSpPr>
                <a:spLocks/>
              </p:cNvSpPr>
              <p:nvPr/>
            </p:nvSpPr>
            <p:spPr bwMode="auto">
              <a:xfrm>
                <a:off x="1763317" y="5438764"/>
                <a:ext cx="349840" cy="535592"/>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5" name="Group 44"/>
            <p:cNvGrpSpPr/>
            <p:nvPr/>
          </p:nvGrpSpPr>
          <p:grpSpPr>
            <a:xfrm>
              <a:off x="1643194" y="3542295"/>
              <a:ext cx="564520" cy="467305"/>
              <a:chOff x="517516" y="3589298"/>
              <a:chExt cx="1770439" cy="1465554"/>
            </a:xfrm>
          </p:grpSpPr>
          <p:sp>
            <p:nvSpPr>
              <p:cNvPr id="77"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44"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1783977" y="3131506"/>
              <a:ext cx="423736" cy="255258"/>
              <a:chOff x="1783977" y="3232718"/>
              <a:chExt cx="423736" cy="255258"/>
            </a:xfrm>
          </p:grpSpPr>
          <p:sp>
            <p:nvSpPr>
              <p:cNvPr id="70"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84"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85" name="Device …4"/>
          <p:cNvGrpSpPr/>
          <p:nvPr/>
        </p:nvGrpSpPr>
        <p:grpSpPr>
          <a:xfrm>
            <a:off x="4424918" y="5532835"/>
            <a:ext cx="407905" cy="337660"/>
            <a:chOff x="517516" y="3589298"/>
            <a:chExt cx="1770439" cy="1465554"/>
          </a:xfrm>
        </p:grpSpPr>
        <p:sp>
          <p:nvSpPr>
            <p:cNvPr id="86"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87"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88"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9" name="Device …3"/>
          <p:cNvGrpSpPr/>
          <p:nvPr/>
        </p:nvGrpSpPr>
        <p:grpSpPr>
          <a:xfrm>
            <a:off x="4463793" y="5139648"/>
            <a:ext cx="339700" cy="204635"/>
            <a:chOff x="1783977" y="3232718"/>
            <a:chExt cx="423736" cy="255258"/>
          </a:xfrm>
        </p:grpSpPr>
        <p:sp>
          <p:nvSpPr>
            <p:cNvPr id="96"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97"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98" name="Device … 1"/>
          <p:cNvSpPr>
            <a:spLocks noEditPoints="1"/>
          </p:cNvSpPr>
          <p:nvPr/>
        </p:nvSpPr>
        <p:spPr bwMode="black">
          <a:xfrm>
            <a:off x="4490052" y="4067659"/>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 name="IoT Hub management"/>
          <p:cNvGrpSpPr/>
          <p:nvPr/>
        </p:nvGrpSpPr>
        <p:grpSpPr>
          <a:xfrm>
            <a:off x="5940450" y="5470954"/>
            <a:ext cx="425518" cy="375193"/>
            <a:chOff x="5940450" y="5470954"/>
            <a:chExt cx="425518" cy="375193"/>
          </a:xfrm>
        </p:grpSpPr>
        <p:sp>
          <p:nvSpPr>
            <p:cNvPr id="102" name="Freeform 101"/>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032077" y="5601867"/>
              <a:ext cx="258584" cy="74058"/>
              <a:chOff x="5993561" y="5590711"/>
              <a:chExt cx="371622" cy="106432"/>
            </a:xfrm>
          </p:grpSpPr>
          <p:sp>
            <p:nvSpPr>
              <p:cNvPr id="49" name="Rectangle 4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Rectangle 103"/>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6" name="Group 105"/>
            <p:cNvGrpSpPr/>
            <p:nvPr/>
          </p:nvGrpSpPr>
          <p:grpSpPr>
            <a:xfrm>
              <a:off x="6032077" y="5697143"/>
              <a:ext cx="258584" cy="74058"/>
              <a:chOff x="5993561" y="5590711"/>
              <a:chExt cx="371622" cy="106432"/>
            </a:xfrm>
          </p:grpSpPr>
          <p:sp>
            <p:nvSpPr>
              <p:cNvPr id="107" name="Rectangle 106"/>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Rectangle 107"/>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10" name="Device identity management"/>
          <p:cNvSpPr>
            <a:spLocks noEditPoints="1"/>
          </p:cNvSpPr>
          <p:nvPr/>
        </p:nvSpPr>
        <p:spPr bwMode="black">
          <a:xfrm>
            <a:off x="7589838" y="5322323"/>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2" name="Device provisioning"/>
          <p:cNvSpPr>
            <a:spLocks noChangeAspect="1" noEditPoints="1"/>
          </p:cNvSpPr>
          <p:nvPr/>
        </p:nvSpPr>
        <p:spPr bwMode="auto">
          <a:xfrm>
            <a:off x="11126432" y="5279246"/>
            <a:ext cx="729188" cy="591249"/>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113" name="C2D send endpoint"/>
          <p:cNvGrpSpPr>
            <a:grpSpLocks noChangeAspect="1"/>
          </p:cNvGrpSpPr>
          <p:nvPr/>
        </p:nvGrpSpPr>
        <p:grpSpPr bwMode="auto">
          <a:xfrm>
            <a:off x="7614352" y="3861260"/>
            <a:ext cx="184628" cy="186405"/>
            <a:chOff x="8096" y="-1886"/>
            <a:chExt cx="935" cy="944"/>
          </a:xfrm>
          <a:solidFill>
            <a:schemeClr val="bg1"/>
          </a:solidFill>
        </p:grpSpPr>
        <p:sp>
          <p:nvSpPr>
            <p:cNvPr id="114"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5"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116"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 name="Device business logic,"/>
          <p:cNvSpPr/>
          <p:nvPr/>
        </p:nvSpPr>
        <p:spPr>
          <a:xfrm>
            <a:off x="9071468" y="3287646"/>
            <a:ext cx="2887291" cy="178892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Device business logic,</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onnectivity monitoring</a:t>
            </a:r>
          </a:p>
        </p:txBody>
      </p:sp>
      <p:sp>
        <p:nvSpPr>
          <p:cNvPr id="118" name="D2C receive endpoint"/>
          <p:cNvSpPr>
            <a:spLocks noChangeAspect="1"/>
          </p:cNvSpPr>
          <p:nvPr/>
        </p:nvSpPr>
        <p:spPr>
          <a:xfrm>
            <a:off x="7505337" y="2998406"/>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nvGrpSpPr>
          <p:cNvPr id="120" name="feedback icon"/>
          <p:cNvGrpSpPr/>
          <p:nvPr/>
        </p:nvGrpSpPr>
        <p:grpSpPr>
          <a:xfrm>
            <a:off x="7580583" y="4468856"/>
            <a:ext cx="284977" cy="271173"/>
            <a:chOff x="11209667" y="1326560"/>
            <a:chExt cx="1287867" cy="1225483"/>
          </a:xfrm>
        </p:grpSpPr>
        <p:grpSp>
          <p:nvGrpSpPr>
            <p:cNvPr id="121" name="Group 120"/>
            <p:cNvGrpSpPr/>
            <p:nvPr/>
          </p:nvGrpSpPr>
          <p:grpSpPr>
            <a:xfrm>
              <a:off x="11209667" y="1326560"/>
              <a:ext cx="901749" cy="772996"/>
              <a:chOff x="11148003" y="2486796"/>
              <a:chExt cx="1527631" cy="1309513"/>
            </a:xfrm>
          </p:grpSpPr>
          <p:sp>
            <p:nvSpPr>
              <p:cNvPr id="128" name="Round Same Side Corner Rectangle 127"/>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9" name="Round Same Side Corner Rectangle 128"/>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2" name="Group 121"/>
            <p:cNvGrpSpPr/>
            <p:nvPr/>
          </p:nvGrpSpPr>
          <p:grpSpPr>
            <a:xfrm>
              <a:off x="11403194" y="1550235"/>
              <a:ext cx="900814" cy="772996"/>
              <a:chOff x="11148003" y="2486796"/>
              <a:chExt cx="1526047" cy="1309513"/>
            </a:xfrm>
          </p:grpSpPr>
          <p:sp>
            <p:nvSpPr>
              <p:cNvPr id="126" name="Round Same Side Corner Rectangle 125"/>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7" name="Round Same Side Corner Rectangle 126"/>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23" name="Group 122"/>
            <p:cNvGrpSpPr/>
            <p:nvPr/>
          </p:nvGrpSpPr>
          <p:grpSpPr>
            <a:xfrm>
              <a:off x="11595785" y="1779047"/>
              <a:ext cx="901749" cy="772996"/>
              <a:chOff x="11148003" y="2486796"/>
              <a:chExt cx="1527631" cy="1309513"/>
            </a:xfrm>
          </p:grpSpPr>
          <p:sp>
            <p:nvSpPr>
              <p:cNvPr id="124" name="Round Same Side Corner Rectangle 123"/>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25" name="Round Same Side Corner Rectangle 124"/>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nvGrpSpPr>
          <p:cNvPr id="2" name="Group 1"/>
          <p:cNvGrpSpPr/>
          <p:nvPr/>
        </p:nvGrpSpPr>
        <p:grpSpPr>
          <a:xfrm>
            <a:off x="1098343" y="4421413"/>
            <a:ext cx="1338081" cy="1554418"/>
            <a:chOff x="1098343" y="4421413"/>
            <a:chExt cx="1338081" cy="1554418"/>
          </a:xfrm>
        </p:grpSpPr>
        <p:sp>
          <p:nvSpPr>
            <p:cNvPr id="92" name="Field GW /"/>
            <p:cNvSpPr/>
            <p:nvPr/>
          </p:nvSpPr>
          <p:spPr bwMode="auto">
            <a:xfrm>
              <a:off x="1098343" y="4421413"/>
              <a:ext cx="1338081" cy="1554418"/>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Field GW /</a:t>
              </a:r>
            </a:p>
            <a:p>
              <a:pPr defTabSz="913748" eaLnBrk="1" hangingPunct="1">
                <a:lnSpc>
                  <a:spcPct val="90000"/>
                </a:lnSpc>
                <a:spcAft>
                  <a:spcPts val="0"/>
                </a:spcAft>
              </a:pPr>
              <a:r>
                <a:rPr lang="en-US" sz="1400" dirty="0">
                  <a:solidFill>
                    <a:schemeClr val="tx1"/>
                  </a:solidFill>
                  <a:latin typeface="Segoe UI Semibold" panose="020B0702040204020203" pitchFamily="34" charset="0"/>
                  <a:ea typeface="Segoe UI" pitchFamily="34" charset="0"/>
                  <a:cs typeface="Segoe UI" pitchFamily="34" charset="0"/>
                </a:rPr>
                <a:t>Cloud GW</a:t>
              </a:r>
            </a:p>
          </p:txBody>
        </p:sp>
        <p:grpSp>
          <p:nvGrpSpPr>
            <p:cNvPr id="99" name="Group 98"/>
            <p:cNvGrpSpPr/>
            <p:nvPr/>
          </p:nvGrpSpPr>
          <p:grpSpPr>
            <a:xfrm>
              <a:off x="1145995" y="4483229"/>
              <a:ext cx="782946" cy="489587"/>
              <a:chOff x="7966852" y="2699664"/>
              <a:chExt cx="782946" cy="489587"/>
            </a:xfrm>
          </p:grpSpPr>
          <p:sp>
            <p:nvSpPr>
              <p:cNvPr id="100" name="Freeform 99"/>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01" name="Group 100"/>
              <p:cNvGrpSpPr/>
              <p:nvPr/>
            </p:nvGrpSpPr>
            <p:grpSpPr>
              <a:xfrm>
                <a:off x="8188271" y="2851116"/>
                <a:ext cx="257445" cy="288170"/>
                <a:chOff x="3876323" y="2412935"/>
                <a:chExt cx="981584" cy="1503227"/>
              </a:xfrm>
            </p:grpSpPr>
            <p:grpSp>
              <p:nvGrpSpPr>
                <p:cNvPr id="103" name="Group 102"/>
                <p:cNvGrpSpPr/>
                <p:nvPr/>
              </p:nvGrpSpPr>
              <p:grpSpPr>
                <a:xfrm>
                  <a:off x="4075337" y="2655193"/>
                  <a:ext cx="640701" cy="978962"/>
                  <a:chOff x="3978978" y="2691315"/>
                  <a:chExt cx="745467" cy="1374671"/>
                </a:xfrm>
              </p:grpSpPr>
              <p:sp>
                <p:nvSpPr>
                  <p:cNvPr id="131" name="Rectangle 130"/>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2" name="Rectangle 131"/>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3" name="Rectangle 132"/>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19" name="Freeform 118"/>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0" name="Freeform 129"/>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79" name="Field GW /"/>
            <p:cNvGrpSpPr/>
            <p:nvPr/>
          </p:nvGrpSpPr>
          <p:grpSpPr>
            <a:xfrm>
              <a:off x="1473310" y="4886209"/>
              <a:ext cx="839338" cy="496998"/>
              <a:chOff x="1263807" y="4532991"/>
              <a:chExt cx="987273" cy="617355"/>
            </a:xfrm>
          </p:grpSpPr>
          <p:sp>
            <p:nvSpPr>
              <p:cNvPr id="43" name="Freeform 42"/>
              <p:cNvSpPr>
                <a:spLocks noChangeAspect="1"/>
              </p:cNvSpPr>
              <p:nvPr/>
            </p:nvSpPr>
            <p:spPr bwMode="auto">
              <a:xfrm>
                <a:off x="1263807" y="4532991"/>
                <a:ext cx="987273" cy="61735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sp>
            <p:nvSpPr>
              <p:cNvPr id="41" name="Frame 5"/>
              <p:cNvSpPr>
                <a:spLocks noChangeAspect="1"/>
              </p:cNvSpPr>
              <p:nvPr/>
            </p:nvSpPr>
            <p:spPr bwMode="auto">
              <a:xfrm>
                <a:off x="1614525" y="4728221"/>
                <a:ext cx="305716" cy="305634"/>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11" name="Group 110"/>
          <p:cNvGrpSpPr/>
          <p:nvPr/>
        </p:nvGrpSpPr>
        <p:grpSpPr>
          <a:xfrm>
            <a:off x="10426747" y="3498074"/>
            <a:ext cx="1428873" cy="804372"/>
            <a:chOff x="7650446" y="2688141"/>
            <a:chExt cx="1802656" cy="1014790"/>
          </a:xfrm>
        </p:grpSpPr>
        <p:grpSp>
          <p:nvGrpSpPr>
            <p:cNvPr id="137" name="Group 136"/>
            <p:cNvGrpSpPr/>
            <p:nvPr/>
          </p:nvGrpSpPr>
          <p:grpSpPr>
            <a:xfrm>
              <a:off x="9072476" y="2927577"/>
              <a:ext cx="380626" cy="116486"/>
              <a:chOff x="9320007" y="2938754"/>
              <a:chExt cx="380626" cy="116486"/>
            </a:xfrm>
          </p:grpSpPr>
          <p:sp>
            <p:nvSpPr>
              <p:cNvPr id="183" name="TextBox 182"/>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4" name="TextBox 183"/>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5" name="TextBox 184"/>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6" name="TextBox 185"/>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88" name="TextBox 187"/>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89" name="TextBox 188"/>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138" name="Oval 137"/>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139"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40" name="Oval 139"/>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141" name="Freeform 140"/>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42" name="Group 141"/>
            <p:cNvGrpSpPr/>
            <p:nvPr/>
          </p:nvGrpSpPr>
          <p:grpSpPr>
            <a:xfrm>
              <a:off x="8270672" y="2767517"/>
              <a:ext cx="318885" cy="479652"/>
              <a:chOff x="7112065" y="1311128"/>
              <a:chExt cx="1047313" cy="1575323"/>
            </a:xfrm>
          </p:grpSpPr>
          <p:sp>
            <p:nvSpPr>
              <p:cNvPr id="179"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180" name="Group 179"/>
              <p:cNvGrpSpPr/>
              <p:nvPr/>
            </p:nvGrpSpPr>
            <p:grpSpPr>
              <a:xfrm>
                <a:off x="7112065" y="1318671"/>
                <a:ext cx="564776" cy="1567780"/>
                <a:chOff x="7237831" y="1331389"/>
                <a:chExt cx="564776" cy="1567780"/>
              </a:xfrm>
            </p:grpSpPr>
            <p:sp>
              <p:nvSpPr>
                <p:cNvPr id="181"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82" name="Donut 181"/>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143" name="Group 142"/>
            <p:cNvGrpSpPr/>
            <p:nvPr/>
          </p:nvGrpSpPr>
          <p:grpSpPr>
            <a:xfrm>
              <a:off x="8421098" y="2926394"/>
              <a:ext cx="622292" cy="776537"/>
              <a:chOff x="8467245" y="2757788"/>
              <a:chExt cx="622292" cy="776537"/>
            </a:xfrm>
          </p:grpSpPr>
          <p:grpSp>
            <p:nvGrpSpPr>
              <p:cNvPr id="160" name="Group 159"/>
              <p:cNvGrpSpPr/>
              <p:nvPr/>
            </p:nvGrpSpPr>
            <p:grpSpPr>
              <a:xfrm>
                <a:off x="8822263" y="2821623"/>
                <a:ext cx="171962" cy="482437"/>
                <a:chOff x="7237831" y="1331389"/>
                <a:chExt cx="564776" cy="1546282"/>
              </a:xfrm>
            </p:grpSpPr>
            <p:sp>
              <p:nvSpPr>
                <p:cNvPr id="177"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178" name="Oval 177"/>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161" name="Oval 160"/>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162" name="Group 161"/>
              <p:cNvGrpSpPr/>
              <p:nvPr/>
            </p:nvGrpSpPr>
            <p:grpSpPr>
              <a:xfrm>
                <a:off x="8596999" y="2798236"/>
                <a:ext cx="377713" cy="446059"/>
                <a:chOff x="3761989" y="1519463"/>
                <a:chExt cx="1533392" cy="1810864"/>
              </a:xfrm>
            </p:grpSpPr>
            <p:sp>
              <p:nvSpPr>
                <p:cNvPr id="165" name="TextBox 164"/>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6" name="TextBox 165"/>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7" name="TextBox 166"/>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68" name="TextBox 167"/>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69" name="TextBox 168"/>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0" name="TextBox 169"/>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1" name="TextBox 170"/>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2" name="TextBox 171"/>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3" name="TextBox 172"/>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4" name="TextBox 173"/>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75" name="TextBox 174"/>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76" name="TextBox 175"/>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63" name="Donut 162"/>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64" name="Rounded Rectangle 163"/>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144" name="TextBox 143"/>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5" name="TextBox 144"/>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6" name="TextBox 145"/>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47" name="TextBox 146"/>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8" name="TextBox 147"/>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49" name="TextBox 148"/>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0" name="TextBox 149"/>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1" name="TextBox 150"/>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2" name="TextBox 151"/>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3" name="TextBox 152"/>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4" name="TextBox 153"/>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5" name="TextBox 154"/>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6" name="TextBox 155"/>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7" name="TextBox 156"/>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58" name="TextBox 157"/>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59" name="TextBox 158"/>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
        <p:nvSpPr>
          <p:cNvPr id="190" name="Freeform 189"/>
          <p:cNvSpPr>
            <a:spLocks noChangeAspect="1"/>
          </p:cNvSpPr>
          <p:nvPr/>
        </p:nvSpPr>
        <p:spPr bwMode="auto">
          <a:xfrm rot="5280000">
            <a:off x="5370675" y="3586941"/>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414178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nodeType="withEffect">
                                  <p:stCondLst>
                                    <p:cond delay="0"/>
                                  </p:stCondLst>
                                  <p:childTnLst>
                                    <p:set>
                                      <p:cBhvr>
                                        <p:cTn id="12" dur="1" fill="hold">
                                          <p:stCondLst>
                                            <p:cond delay="0"/>
                                          </p:stCondLst>
                                        </p:cTn>
                                        <p:tgtEl>
                                          <p:spTgt spid="90"/>
                                        </p:tgtEl>
                                        <p:attrNameLst>
                                          <p:attrName>style.visibility</p:attrName>
                                        </p:attrNameLst>
                                      </p:cBhvr>
                                      <p:to>
                                        <p:strVal val="visible"/>
                                      </p:to>
                                    </p:set>
                                    <p:animEffect transition="in" filter="fade">
                                      <p:cBhvr>
                                        <p:cTn id="13" dur="500"/>
                                        <p:tgtEl>
                                          <p:spTgt spid="90"/>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500"/>
                                        <p:tgtEl>
                                          <p:spTgt spid="9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par>
                                <p:cTn id="32" presetID="10" presetClass="entr" presetSubtype="0" fill="hold"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500"/>
                                        <p:tgtEl>
                                          <p:spTgt spid="2"/>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10" presetClass="entr" presetSubtype="0" fill="hold" nodeType="with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18"/>
                                        </p:tgtEl>
                                        <p:attrNameLst>
                                          <p:attrName>style.visibility</p:attrName>
                                        </p:attrNameLst>
                                      </p:cBhvr>
                                      <p:to>
                                        <p:strVal val="visible"/>
                                      </p:to>
                                    </p:set>
                                    <p:animEffect transition="in" filter="fade">
                                      <p:cBhvr>
                                        <p:cTn id="65" dur="500"/>
                                        <p:tgtEl>
                                          <p:spTgt spid="118"/>
                                        </p:tgtEl>
                                      </p:cBhvr>
                                    </p:animEffect>
                                  </p:childTnLst>
                                </p:cTn>
                              </p:par>
                              <p:par>
                                <p:cTn id="66" presetID="10" presetClass="entr" presetSubtype="0" fill="hold" nodeType="withEffect">
                                  <p:stCondLst>
                                    <p:cond delay="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500"/>
                                        <p:tgtEl>
                                          <p:spTgt spid="58"/>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nodeType="with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nodeType="withEffect">
                                  <p:stCondLst>
                                    <p:cond delay="0"/>
                                  </p:stCondLst>
                                  <p:childTnLst>
                                    <p:set>
                                      <p:cBhvr>
                                        <p:cTn id="81" dur="1" fill="hold">
                                          <p:stCondLst>
                                            <p:cond delay="0"/>
                                          </p:stCondLst>
                                        </p:cTn>
                                        <p:tgtEl>
                                          <p:spTgt spid="59"/>
                                        </p:tgtEl>
                                        <p:attrNameLst>
                                          <p:attrName>style.visibility</p:attrName>
                                        </p:attrNameLst>
                                      </p:cBhvr>
                                      <p:to>
                                        <p:strVal val="visible"/>
                                      </p:to>
                                    </p:set>
                                    <p:animEffect transition="in" filter="fade">
                                      <p:cBhvr>
                                        <p:cTn id="82" dur="500"/>
                                        <p:tgtEl>
                                          <p:spTgt spid="59"/>
                                        </p:tgtEl>
                                      </p:cBhvr>
                                    </p:animEffect>
                                  </p:childTnLst>
                                </p:cTn>
                              </p:par>
                              <p:par>
                                <p:cTn id="83" presetID="10" presetClass="entr" presetSubtype="0" fill="hold" nodeType="withEffect">
                                  <p:stCondLst>
                                    <p:cond delay="0"/>
                                  </p:stCondLst>
                                  <p:childTnLst>
                                    <p:set>
                                      <p:cBhvr>
                                        <p:cTn id="84" dur="1" fill="hold">
                                          <p:stCondLst>
                                            <p:cond delay="0"/>
                                          </p:stCondLst>
                                        </p:cTn>
                                        <p:tgtEl>
                                          <p:spTgt spid="113"/>
                                        </p:tgtEl>
                                        <p:attrNameLst>
                                          <p:attrName>style.visibility</p:attrName>
                                        </p:attrNameLst>
                                      </p:cBhvr>
                                      <p:to>
                                        <p:strVal val="visible"/>
                                      </p:to>
                                    </p:set>
                                    <p:animEffect transition="in" filter="fade">
                                      <p:cBhvr>
                                        <p:cTn id="85" dur="500"/>
                                        <p:tgtEl>
                                          <p:spTgt spid="11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11"/>
                                        </p:tgtEl>
                                        <p:attrNameLst>
                                          <p:attrName>style.visibility</p:attrName>
                                        </p:attrNameLst>
                                      </p:cBhvr>
                                      <p:to>
                                        <p:strVal val="visible"/>
                                      </p:to>
                                    </p:set>
                                    <p:animEffect transition="in" filter="fade">
                                      <p:cBhvr>
                                        <p:cTn id="90" dur="500"/>
                                        <p:tgtEl>
                                          <p:spTgt spid="11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6"/>
                                        </p:tgtEl>
                                        <p:attrNameLst>
                                          <p:attrName>style.visibility</p:attrName>
                                        </p:attrNameLst>
                                      </p:cBhvr>
                                      <p:to>
                                        <p:strVal val="visible"/>
                                      </p:to>
                                    </p:set>
                                    <p:animEffect transition="in" filter="fade">
                                      <p:cBhvr>
                                        <p:cTn id="93" dur="500"/>
                                        <p:tgtEl>
                                          <p:spTgt spid="2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7"/>
                                        </p:tgtEl>
                                        <p:attrNameLst>
                                          <p:attrName>style.visibility</p:attrName>
                                        </p:attrNameLst>
                                      </p:cBhvr>
                                      <p:to>
                                        <p:strVal val="visible"/>
                                      </p:to>
                                    </p:set>
                                    <p:animEffect transition="in" filter="fade">
                                      <p:cBhvr>
                                        <p:cTn id="98" dur="500"/>
                                        <p:tgtEl>
                                          <p:spTgt spid="17"/>
                                        </p:tgtEl>
                                      </p:cBhvr>
                                    </p:animEffect>
                                  </p:childTnLst>
                                </p:cTn>
                              </p:par>
                              <p:par>
                                <p:cTn id="99" presetID="10" presetClass="entr" presetSubtype="0" fill="hold" nodeType="withEffect">
                                  <p:stCondLst>
                                    <p:cond delay="0"/>
                                  </p:stCondLst>
                                  <p:childTnLst>
                                    <p:set>
                                      <p:cBhvr>
                                        <p:cTn id="100" dur="1" fill="hold">
                                          <p:stCondLst>
                                            <p:cond delay="0"/>
                                          </p:stCondLst>
                                        </p:cTn>
                                        <p:tgtEl>
                                          <p:spTgt spid="120"/>
                                        </p:tgtEl>
                                        <p:attrNameLst>
                                          <p:attrName>style.visibility</p:attrName>
                                        </p:attrNameLst>
                                      </p:cBhvr>
                                      <p:to>
                                        <p:strVal val="visible"/>
                                      </p:to>
                                    </p:set>
                                    <p:animEffect transition="in" filter="fade">
                                      <p:cBhvr>
                                        <p:cTn id="101" dur="500"/>
                                        <p:tgtEl>
                                          <p:spTgt spid="120"/>
                                        </p:tgtEl>
                                      </p:cBhvr>
                                    </p:animEffect>
                                  </p:childTnLst>
                                </p:cTn>
                              </p:par>
                              <p:par>
                                <p:cTn id="102" presetID="10" presetClass="entr" presetSubtype="0" fill="hold" nodeType="withEffect">
                                  <p:stCondLst>
                                    <p:cond delay="0"/>
                                  </p:stCondLst>
                                  <p:childTnLst>
                                    <p:set>
                                      <p:cBhvr>
                                        <p:cTn id="103" dur="1" fill="hold">
                                          <p:stCondLst>
                                            <p:cond delay="0"/>
                                          </p:stCondLst>
                                        </p:cTn>
                                        <p:tgtEl>
                                          <p:spTgt spid="60"/>
                                        </p:tgtEl>
                                        <p:attrNameLst>
                                          <p:attrName>style.visibility</p:attrName>
                                        </p:attrNameLst>
                                      </p:cBhvr>
                                      <p:to>
                                        <p:strVal val="visible"/>
                                      </p:to>
                                    </p:set>
                                    <p:animEffect transition="in" filter="fade">
                                      <p:cBhvr>
                                        <p:cTn id="104" dur="500"/>
                                        <p:tgtEl>
                                          <p:spTgt spid="60"/>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0" nodeType="clickEffect">
                                  <p:stCondLst>
                                    <p:cond delay="0"/>
                                  </p:stCondLst>
                                  <p:childTnLst>
                                    <p:set>
                                      <p:cBhvr>
                                        <p:cTn id="108" dur="1" fill="hold">
                                          <p:stCondLst>
                                            <p:cond delay="0"/>
                                          </p:stCondLst>
                                        </p:cTn>
                                        <p:tgtEl>
                                          <p:spTgt spid="27"/>
                                        </p:tgtEl>
                                        <p:attrNameLst>
                                          <p:attrName>style.visibility</p:attrName>
                                        </p:attrNameLst>
                                      </p:cBhvr>
                                      <p:to>
                                        <p:strVal val="visible"/>
                                      </p:to>
                                    </p:set>
                                    <p:animEffect transition="in" filter="fade">
                                      <p:cBhvr>
                                        <p:cTn id="109" dur="500"/>
                                        <p:tgtEl>
                                          <p:spTgt spid="2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2"/>
                                        </p:tgtEl>
                                        <p:attrNameLst>
                                          <p:attrName>style.visibility</p:attrName>
                                        </p:attrNameLst>
                                      </p:cBhvr>
                                      <p:to>
                                        <p:strVal val="visible"/>
                                      </p:to>
                                    </p:set>
                                    <p:animEffect transition="in" filter="fade">
                                      <p:cBhvr>
                                        <p:cTn id="112" dur="500"/>
                                        <p:tgtEl>
                                          <p:spTgt spid="11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8"/>
                                        </p:tgtEl>
                                        <p:attrNameLst>
                                          <p:attrName>style.visibility</p:attrName>
                                        </p:attrNameLst>
                                      </p:cBhvr>
                                      <p:to>
                                        <p:strVal val="visible"/>
                                      </p:to>
                                    </p:set>
                                    <p:animEffect transition="in" filter="fade">
                                      <p:cBhvr>
                                        <p:cTn id="115" dur="500"/>
                                        <p:tgtEl>
                                          <p:spTgt spid="28"/>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0"/>
                                        </p:tgtEl>
                                        <p:attrNameLst>
                                          <p:attrName>style.visibility</p:attrName>
                                        </p:attrNameLst>
                                      </p:cBhvr>
                                      <p:to>
                                        <p:strVal val="visible"/>
                                      </p:to>
                                    </p:set>
                                    <p:animEffect transition="in" filter="fade">
                                      <p:cBhvr>
                                        <p:cTn id="118" dur="500"/>
                                        <p:tgtEl>
                                          <p:spTgt spid="110"/>
                                        </p:tgtEl>
                                      </p:cBhvr>
                                    </p:animEffect>
                                  </p:childTnLst>
                                </p:cTn>
                              </p:par>
                              <p:par>
                                <p:cTn id="119" presetID="10" presetClass="entr" presetSubtype="0" fill="hold" nodeType="withEffect">
                                  <p:stCondLst>
                                    <p:cond delay="0"/>
                                  </p:stCondLst>
                                  <p:childTnLst>
                                    <p:set>
                                      <p:cBhvr>
                                        <p:cTn id="120" dur="1" fill="hold">
                                          <p:stCondLst>
                                            <p:cond delay="0"/>
                                          </p:stCondLst>
                                        </p:cTn>
                                        <p:tgtEl>
                                          <p:spTgt spid="61"/>
                                        </p:tgtEl>
                                        <p:attrNameLst>
                                          <p:attrName>style.visibility</p:attrName>
                                        </p:attrNameLst>
                                      </p:cBhvr>
                                      <p:to>
                                        <p:strVal val="visible"/>
                                      </p:to>
                                    </p:set>
                                    <p:animEffect transition="in" filter="fade">
                                      <p:cBhvr>
                                        <p:cTn id="121" dur="500"/>
                                        <p:tgtEl>
                                          <p:spTgt spid="61"/>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29"/>
                                        </p:tgtEl>
                                        <p:attrNameLst>
                                          <p:attrName>style.visibility</p:attrName>
                                        </p:attrNameLst>
                                      </p:cBhvr>
                                      <p:to>
                                        <p:strVal val="visible"/>
                                      </p:to>
                                    </p:set>
                                    <p:animEffect transition="in" filter="fade">
                                      <p:cBhvr>
                                        <p:cTn id="126" dur="500"/>
                                        <p:tgtEl>
                                          <p:spTgt spid="29"/>
                                        </p:tgtEl>
                                      </p:cBhvr>
                                    </p:animEffect>
                                  </p:childTnLst>
                                </p:cTn>
                              </p:par>
                              <p:par>
                                <p:cTn id="127" presetID="10" presetClass="entr" presetSubtype="0" fill="hold" nodeType="withEffect">
                                  <p:stCondLst>
                                    <p:cond delay="0"/>
                                  </p:stCondLst>
                                  <p:childTnLst>
                                    <p:set>
                                      <p:cBhvr>
                                        <p:cTn id="128" dur="1" fill="hold">
                                          <p:stCondLst>
                                            <p:cond delay="0"/>
                                          </p:stCondLst>
                                        </p:cTn>
                                        <p:tgtEl>
                                          <p:spTgt spid="52"/>
                                        </p:tgtEl>
                                        <p:attrNameLst>
                                          <p:attrName>style.visibility</p:attrName>
                                        </p:attrNameLst>
                                      </p:cBhvr>
                                      <p:to>
                                        <p:strVal val="visible"/>
                                      </p:to>
                                    </p:set>
                                    <p:animEffect transition="in" filter="fade">
                                      <p:cBhvr>
                                        <p:cTn id="1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7" grpId="0" animBg="1"/>
      <p:bldP spid="12" grpId="0" animBg="1"/>
      <p:bldP spid="13" grpId="0" animBg="1"/>
      <p:bldP spid="14" grpId="0" animBg="1"/>
      <p:bldP spid="15" grpId="0" animBg="1"/>
      <p:bldP spid="16" grpId="0" animBg="1"/>
      <p:bldP spid="17" grpId="0" animBg="1"/>
      <p:bldP spid="28" grpId="0" animBg="1"/>
      <p:bldP spid="29" grpId="0" animBg="1"/>
      <p:bldP spid="98" grpId="0" animBg="1"/>
      <p:bldP spid="110" grpId="0" animBg="1"/>
      <p:bldP spid="112" grpId="0" animBg="1"/>
      <p:bldP spid="26" grpId="0" animBg="1"/>
      <p:bldP spid="1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DKs</a:t>
            </a:r>
          </a:p>
        </p:txBody>
      </p:sp>
      <p:sp>
        <p:nvSpPr>
          <p:cNvPr id="4" name="Text Placeholder 3"/>
          <p:cNvSpPr>
            <a:spLocks noGrp="1"/>
          </p:cNvSpPr>
          <p:nvPr>
            <p:ph type="body" sz="quarter" idx="10"/>
          </p:nvPr>
        </p:nvSpPr>
        <p:spPr>
          <a:xfrm>
            <a:off x="466367" y="1489959"/>
            <a:ext cx="5763944" cy="5542286"/>
          </a:xfrm>
        </p:spPr>
        <p:txBody>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r>
              <a:rPr lang="en-US" dirty="0"/>
              <a:t>Languages</a:t>
            </a:r>
          </a:p>
          <a:p>
            <a:pPr lvl="1"/>
            <a:r>
              <a:rPr lang="en-US" dirty="0"/>
              <a:t>C/C++, Java, C#, JavaScript, Python</a:t>
            </a:r>
          </a:p>
        </p:txBody>
      </p:sp>
      <p:sp>
        <p:nvSpPr>
          <p:cNvPr id="5" name="Text Placeholder 4"/>
          <p:cNvSpPr>
            <a:spLocks noGrp="1"/>
          </p:cNvSpPr>
          <p:nvPr>
            <p:ph type="body" sz="quarter" idx="11"/>
          </p:nvPr>
        </p:nvSpPr>
        <p:spPr>
          <a:xfrm>
            <a:off x="6522448" y="1489959"/>
            <a:ext cx="5641755" cy="2052407"/>
          </a:xfrm>
        </p:spPr>
        <p:txBody>
          <a:bodyPr/>
          <a:lstStyle/>
          <a:p>
            <a:r>
              <a:rPr lang="en-US" dirty="0"/>
              <a:t>Service-facing</a:t>
            </a:r>
          </a:p>
          <a:p>
            <a:pPr lvl="1"/>
            <a:r>
              <a:rPr lang="en-US" dirty="0"/>
              <a:t>For back-ends and cloud gateway</a:t>
            </a:r>
          </a:p>
          <a:p>
            <a:r>
              <a:rPr lang="en-US" dirty="0"/>
              <a:t>Languages</a:t>
            </a:r>
          </a:p>
          <a:p>
            <a:pPr lvl="1"/>
            <a:r>
              <a:rPr lang="en-US" dirty="0"/>
              <a:t>.NET C#</a:t>
            </a:r>
          </a:p>
          <a:p>
            <a:pPr lvl="1"/>
            <a:r>
              <a:rPr lang="en-US" dirty="0"/>
              <a:t>Java</a:t>
            </a:r>
          </a:p>
          <a:p>
            <a:pPr lvl="1"/>
            <a:r>
              <a:rPr lang="en-US" dirty="0"/>
              <a:t>Node</a:t>
            </a:r>
          </a:p>
        </p:txBody>
      </p:sp>
    </p:spTree>
    <p:extLst>
      <p:ext uri="{BB962C8B-B14F-4D97-AF65-F5344CB8AC3E}">
        <p14:creationId xmlns:p14="http://schemas.microsoft.com/office/powerpoint/2010/main" val="13454200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ervices</a:t>
            </a:r>
          </a:p>
        </p:txBody>
      </p:sp>
      <p:graphicFrame>
        <p:nvGraphicFramePr>
          <p:cNvPr id="9" name="Table 8">
            <a:extLst>
              <a:ext uri="{FF2B5EF4-FFF2-40B4-BE49-F238E27FC236}">
                <a16:creationId xmlns:a16="http://schemas.microsoft.com/office/drawing/2014/main" id="{D0B7E8C4-925D-466B-8BBD-75106294F682}"/>
              </a:ext>
            </a:extLst>
          </p:cNvPr>
          <p:cNvGraphicFramePr>
            <a:graphicFrameLocks noGrp="1"/>
          </p:cNvGraphicFramePr>
          <p:nvPr>
            <p:extLst>
              <p:ext uri="{D42A27DB-BD31-4B8C-83A1-F6EECF244321}">
                <p14:modId xmlns:p14="http://schemas.microsoft.com/office/powerpoint/2010/main" val="2887757416"/>
              </p:ext>
            </p:extLst>
          </p:nvPr>
        </p:nvGraphicFramePr>
        <p:xfrm>
          <a:off x="731897" y="1851360"/>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chemeClr val="tx1"/>
                          </a:solidFill>
                          <a:latin typeface="Segoe UI Semibold" panose="020B0702040204020203" pitchFamily="34" charset="0"/>
                        </a:rPr>
                        <a:t>Device Connectivity</a:t>
                      </a:r>
                      <a:endParaRPr lang="en-GB"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HDInsight</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10" name="Group 9">
            <a:extLst>
              <a:ext uri="{FF2B5EF4-FFF2-40B4-BE49-F238E27FC236}">
                <a16:creationId xmlns:a16="http://schemas.microsoft.com/office/drawing/2014/main" id="{41CB24E6-241C-4256-B01D-D4C4E2984E46}"/>
              </a:ext>
            </a:extLst>
          </p:cNvPr>
          <p:cNvGrpSpPr>
            <a:grpSpLocks noChangeAspect="1"/>
          </p:cNvGrpSpPr>
          <p:nvPr/>
        </p:nvGrpSpPr>
        <p:grpSpPr>
          <a:xfrm>
            <a:off x="991004" y="2577598"/>
            <a:ext cx="857276" cy="527895"/>
            <a:chOff x="5893817" y="-2363993"/>
            <a:chExt cx="1589176" cy="978587"/>
          </a:xfrm>
        </p:grpSpPr>
        <p:pic>
          <p:nvPicPr>
            <p:cNvPr id="11" name="Picture 10">
              <a:extLst>
                <a:ext uri="{FF2B5EF4-FFF2-40B4-BE49-F238E27FC236}">
                  <a16:creationId xmlns:a16="http://schemas.microsoft.com/office/drawing/2014/main" id="{621EB4E6-73B1-4352-A9FF-3C4C291544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12" name="Group 11">
              <a:extLst>
                <a:ext uri="{FF2B5EF4-FFF2-40B4-BE49-F238E27FC236}">
                  <a16:creationId xmlns:a16="http://schemas.microsoft.com/office/drawing/2014/main" id="{9CBD5C9D-70A3-4EDF-BB43-0848326E0E0D}"/>
                </a:ext>
              </a:extLst>
            </p:cNvPr>
            <p:cNvGrpSpPr>
              <a:grpSpLocks noChangeAspect="1"/>
            </p:cNvGrpSpPr>
            <p:nvPr/>
          </p:nvGrpSpPr>
          <p:grpSpPr>
            <a:xfrm>
              <a:off x="6051365" y="-2363989"/>
              <a:ext cx="1149652" cy="978583"/>
              <a:chOff x="2475317" y="-6877877"/>
              <a:chExt cx="1493848" cy="1271229"/>
            </a:xfrm>
          </p:grpSpPr>
          <p:sp>
            <p:nvSpPr>
              <p:cNvPr id="17" name="Round Same Side Corner Rectangle 11">
                <a:extLst>
                  <a:ext uri="{FF2B5EF4-FFF2-40B4-BE49-F238E27FC236}">
                    <a16:creationId xmlns:a16="http://schemas.microsoft.com/office/drawing/2014/main" id="{F5583D2C-B6F6-4BBF-9C8C-6FE546229F1B}"/>
                  </a:ext>
                </a:extLst>
              </p:cNvPr>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18" name="Trapezoid 12">
                <a:extLst>
                  <a:ext uri="{FF2B5EF4-FFF2-40B4-BE49-F238E27FC236}">
                    <a16:creationId xmlns:a16="http://schemas.microsoft.com/office/drawing/2014/main" id="{E601F91C-7F45-446B-9698-80D12F69A3C6}"/>
                  </a:ext>
                </a:extLst>
              </p:cNvPr>
              <p:cNvSpPr/>
              <p:nvPr/>
            </p:nvSpPr>
            <p:spPr>
              <a:xfrm>
                <a:off x="3302775" y="-5690773"/>
                <a:ext cx="666390" cy="8412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13" name="Rounded Rectangle 6">
              <a:extLst>
                <a:ext uri="{FF2B5EF4-FFF2-40B4-BE49-F238E27FC236}">
                  <a16:creationId xmlns:a16="http://schemas.microsoft.com/office/drawing/2014/main" id="{3F22981D-2D86-488E-AD30-0BE0ECE47B82}"/>
                </a:ext>
              </a:extLst>
            </p:cNvPr>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14" name="Picture 2" descr="\\MAGNUM\Projects\Microsoft\Cloud Power FY12\Design\ICONS_PNG\Next_Gen_Application.png">
              <a:extLst>
                <a:ext uri="{FF2B5EF4-FFF2-40B4-BE49-F238E27FC236}">
                  <a16:creationId xmlns:a16="http://schemas.microsoft.com/office/drawing/2014/main" id="{1B7500D4-6610-4EFD-A093-261BC3217783}"/>
                </a:ext>
              </a:extLst>
            </p:cNvPr>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15" name="Picture 24" descr="E:\Eric Suchiang FD\Icons\Metro Icon\Metro icons ALL WHITE\cctv.png">
              <a:extLst>
                <a:ext uri="{FF2B5EF4-FFF2-40B4-BE49-F238E27FC236}">
                  <a16:creationId xmlns:a16="http://schemas.microsoft.com/office/drawing/2014/main" id="{0ED784F4-642F-4A54-8560-BDFF66901A8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48">
              <a:extLst>
                <a:ext uri="{FF2B5EF4-FFF2-40B4-BE49-F238E27FC236}">
                  <a16:creationId xmlns:a16="http://schemas.microsoft.com/office/drawing/2014/main" id="{8B93CDCD-F993-4627-9443-04FFFAE7C347}"/>
                </a:ext>
              </a:extLst>
            </p:cNvPr>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19" name="Group 18">
            <a:extLst>
              <a:ext uri="{FF2B5EF4-FFF2-40B4-BE49-F238E27FC236}">
                <a16:creationId xmlns:a16="http://schemas.microsoft.com/office/drawing/2014/main" id="{8DD919E4-F457-4302-8132-851FE0FF2906}"/>
              </a:ext>
            </a:extLst>
          </p:cNvPr>
          <p:cNvGrpSpPr>
            <a:grpSpLocks noChangeAspect="1"/>
          </p:cNvGrpSpPr>
          <p:nvPr/>
        </p:nvGrpSpPr>
        <p:grpSpPr>
          <a:xfrm>
            <a:off x="1121733" y="3315968"/>
            <a:ext cx="695399" cy="516592"/>
            <a:chOff x="5630249" y="-855090"/>
            <a:chExt cx="1258953" cy="935238"/>
          </a:xfrm>
          <a:solidFill>
            <a:schemeClr val="bg1"/>
          </a:solidFill>
        </p:grpSpPr>
        <p:sp>
          <p:nvSpPr>
            <p:cNvPr id="20" name="Freeform 239">
              <a:extLst>
                <a:ext uri="{FF2B5EF4-FFF2-40B4-BE49-F238E27FC236}">
                  <a16:creationId xmlns:a16="http://schemas.microsoft.com/office/drawing/2014/main" id="{ACF6B309-0A67-4344-9F09-27AD64A913A2}"/>
                </a:ext>
              </a:extLst>
            </p:cNvPr>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tx1"/>
            </a:solid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21" name="Round Same Side Corner Rectangle 26">
              <a:extLst>
                <a:ext uri="{FF2B5EF4-FFF2-40B4-BE49-F238E27FC236}">
                  <a16:creationId xmlns:a16="http://schemas.microsoft.com/office/drawing/2014/main" id="{B92FC539-E62E-45B4-92B1-B33D955D5636}"/>
                </a:ext>
              </a:extLst>
            </p:cNvPr>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22" name="Picture 3" descr="C:\Users\chrisw\Desktop\Kinect Hand.png">
              <a:extLst>
                <a:ext uri="{FF2B5EF4-FFF2-40B4-BE49-F238E27FC236}">
                  <a16:creationId xmlns:a16="http://schemas.microsoft.com/office/drawing/2014/main" id="{678C0FDE-3032-4609-B539-44D796E0B0A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23" name="Freeform 362">
              <a:extLst>
                <a:ext uri="{FF2B5EF4-FFF2-40B4-BE49-F238E27FC236}">
                  <a16:creationId xmlns:a16="http://schemas.microsoft.com/office/drawing/2014/main" id="{72C74A64-12C4-41D4-92C8-F99921F14A72}"/>
                </a:ext>
              </a:extLst>
            </p:cNvPr>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tx1"/>
            </a:solid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24" name="handheld">
              <a:extLst>
                <a:ext uri="{FF2B5EF4-FFF2-40B4-BE49-F238E27FC236}">
                  <a16:creationId xmlns:a16="http://schemas.microsoft.com/office/drawing/2014/main" id="{2EAE454E-6B00-42B8-91FB-72FBC6D17DE1}"/>
                </a:ext>
              </a:extLst>
            </p:cNvPr>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25" name="Freeform 86">
              <a:extLst>
                <a:ext uri="{FF2B5EF4-FFF2-40B4-BE49-F238E27FC236}">
                  <a16:creationId xmlns:a16="http://schemas.microsoft.com/office/drawing/2014/main" id="{1EE25ACF-A3CC-4C42-9A91-18C821E6DD07}"/>
                </a:ext>
              </a:extLst>
            </p:cNvPr>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26" name="Group 25">
            <a:extLst>
              <a:ext uri="{FF2B5EF4-FFF2-40B4-BE49-F238E27FC236}">
                <a16:creationId xmlns:a16="http://schemas.microsoft.com/office/drawing/2014/main" id="{BACD5E2F-0EC7-461A-85EA-7852D0F1CB5D}"/>
              </a:ext>
            </a:extLst>
          </p:cNvPr>
          <p:cNvGrpSpPr/>
          <p:nvPr/>
        </p:nvGrpSpPr>
        <p:grpSpPr>
          <a:xfrm>
            <a:off x="1444172" y="4292562"/>
            <a:ext cx="552282" cy="335680"/>
            <a:chOff x="2012636" y="-279971"/>
            <a:chExt cx="734842" cy="447764"/>
          </a:xfrm>
          <a:solidFill>
            <a:schemeClr val="bg1"/>
          </a:solidFill>
        </p:grpSpPr>
        <p:sp>
          <p:nvSpPr>
            <p:cNvPr id="27" name="Donut 100">
              <a:extLst>
                <a:ext uri="{FF2B5EF4-FFF2-40B4-BE49-F238E27FC236}">
                  <a16:creationId xmlns:a16="http://schemas.microsoft.com/office/drawing/2014/main" id="{5E372BAB-F78A-4325-9A8B-4410A9162D21}"/>
                </a:ext>
              </a:extLst>
            </p:cNvPr>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28" name="Frame 5">
              <a:extLst>
                <a:ext uri="{FF2B5EF4-FFF2-40B4-BE49-F238E27FC236}">
                  <a16:creationId xmlns:a16="http://schemas.microsoft.com/office/drawing/2014/main" id="{8B28B732-D114-4982-99B7-2DE43F273D81}"/>
                </a:ext>
              </a:extLst>
            </p:cNvPr>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29" name="Picture 28">
            <a:extLst>
              <a:ext uri="{FF2B5EF4-FFF2-40B4-BE49-F238E27FC236}">
                <a16:creationId xmlns:a16="http://schemas.microsoft.com/office/drawing/2014/main" id="{97D7ED18-5472-456E-95F3-0292BE5C1EB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7368" y="4239971"/>
            <a:ext cx="479992" cy="479992"/>
          </a:xfrm>
          <a:prstGeom prst="rect">
            <a:avLst/>
          </a:prstGeom>
        </p:spPr>
      </p:pic>
      <p:pic>
        <p:nvPicPr>
          <p:cNvPr id="30" name="Picture 2" descr="C:\Users\mitchellg\AppData\Local\Microsoft\Windows\Temporary Internet Files\Content.Outlook\DRES7FCJ\Storage_white (2).png">
            <a:extLst>
              <a:ext uri="{FF2B5EF4-FFF2-40B4-BE49-F238E27FC236}">
                <a16:creationId xmlns:a16="http://schemas.microsoft.com/office/drawing/2014/main" id="{66FF8BD2-5CBE-4111-AA0F-D0F63F74DA81}"/>
              </a:ext>
            </a:extLst>
          </p:cNvPr>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403486" y="4296274"/>
            <a:ext cx="472432" cy="472432"/>
          </a:xfrm>
          <a:prstGeom prst="rect">
            <a:avLst/>
          </a:prstGeom>
          <a:noFill/>
        </p:spPr>
      </p:pic>
      <p:pic>
        <p:nvPicPr>
          <p:cNvPr id="31" name="Picture 3">
            <a:extLst>
              <a:ext uri="{FF2B5EF4-FFF2-40B4-BE49-F238E27FC236}">
                <a16:creationId xmlns:a16="http://schemas.microsoft.com/office/drawing/2014/main" id="{FC88186A-D858-436E-ADB1-612A0789AEE2}"/>
              </a:ext>
            </a:extLst>
          </p:cNvPr>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65432" y="2586947"/>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6">
            <a:extLst>
              <a:ext uri="{FF2B5EF4-FFF2-40B4-BE49-F238E27FC236}">
                <a16:creationId xmlns:a16="http://schemas.microsoft.com/office/drawing/2014/main" id="{F09A7D87-C0C6-4234-B9A1-F46089C3C93F}"/>
              </a:ext>
            </a:extLst>
          </p:cNvPr>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51471" y="3495925"/>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ECC186FF-356A-46CE-9C92-DEF27AA0685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81139" y="4122184"/>
            <a:ext cx="792325" cy="792325"/>
          </a:xfrm>
          <a:prstGeom prst="rect">
            <a:avLst/>
          </a:prstGeom>
        </p:spPr>
      </p:pic>
      <p:sp>
        <p:nvSpPr>
          <p:cNvPr id="34" name="TextBox 33">
            <a:extLst>
              <a:ext uri="{FF2B5EF4-FFF2-40B4-BE49-F238E27FC236}">
                <a16:creationId xmlns:a16="http://schemas.microsoft.com/office/drawing/2014/main" id="{78FAF3E6-3403-4229-9037-637DDD798306}"/>
              </a:ext>
            </a:extLst>
          </p:cNvPr>
          <p:cNvSpPr txBox="1"/>
          <p:nvPr/>
        </p:nvSpPr>
        <p:spPr>
          <a:xfrm>
            <a:off x="4806634" y="4460403"/>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35" name="Picture 2" descr="C:\Users\mitchellg\AppData\Local\Microsoft\Windows\Temporary Internet Files\Content.Outlook\DRES7FCJ\Storage_white (2).png">
            <a:extLst>
              <a:ext uri="{FF2B5EF4-FFF2-40B4-BE49-F238E27FC236}">
                <a16:creationId xmlns:a16="http://schemas.microsoft.com/office/drawing/2014/main" id="{88296BE9-CDF7-4868-8EE2-6C6BC4BF77AC}"/>
              </a:ext>
            </a:extLst>
          </p:cNvPr>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41089" y="5216262"/>
            <a:ext cx="472432" cy="472432"/>
          </a:xfrm>
          <a:prstGeom prst="rect">
            <a:avLst/>
          </a:prstGeom>
          <a:noFill/>
        </p:spPr>
      </p:pic>
      <p:pic>
        <p:nvPicPr>
          <p:cNvPr id="36" name="Picture 35">
            <a:extLst>
              <a:ext uri="{FF2B5EF4-FFF2-40B4-BE49-F238E27FC236}">
                <a16:creationId xmlns:a16="http://schemas.microsoft.com/office/drawing/2014/main" id="{91662F2C-6C22-4C25-BD34-5C6B2F9E2BD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99293" y="2422120"/>
            <a:ext cx="753850" cy="753850"/>
          </a:xfrm>
          <a:prstGeom prst="rect">
            <a:avLst/>
          </a:prstGeom>
        </p:spPr>
      </p:pic>
      <p:pic>
        <p:nvPicPr>
          <p:cNvPr id="37" name="Picture 11">
            <a:extLst>
              <a:ext uri="{FF2B5EF4-FFF2-40B4-BE49-F238E27FC236}">
                <a16:creationId xmlns:a16="http://schemas.microsoft.com/office/drawing/2014/main" id="{E9C4B82F-C1D3-41F1-B768-D973DED17B25}"/>
              </a:ext>
            </a:extLst>
          </p:cNvPr>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46356" y="2597268"/>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73">
            <a:extLst>
              <a:ext uri="{FF2B5EF4-FFF2-40B4-BE49-F238E27FC236}">
                <a16:creationId xmlns:a16="http://schemas.microsoft.com/office/drawing/2014/main" id="{7726DA44-0A53-4B2D-95D0-DDBF9B900FE5}"/>
              </a:ext>
            </a:extLst>
          </p:cNvPr>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22238" y="5227895"/>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8">
            <a:extLst>
              <a:ext uri="{FF2B5EF4-FFF2-40B4-BE49-F238E27FC236}">
                <a16:creationId xmlns:a16="http://schemas.microsoft.com/office/drawing/2014/main" id="{15797A9F-1EE6-4A46-9FBA-3EB760374550}"/>
              </a:ext>
            </a:extLst>
          </p:cNvPr>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86075" y="4379616"/>
            <a:ext cx="373876" cy="373876"/>
          </a:xfrm>
          <a:prstGeom prst="rect">
            <a:avLst/>
          </a:prstGeom>
        </p:spPr>
      </p:pic>
      <p:pic>
        <p:nvPicPr>
          <p:cNvPr id="40" name="Picture 39">
            <a:extLst>
              <a:ext uri="{FF2B5EF4-FFF2-40B4-BE49-F238E27FC236}">
                <a16:creationId xmlns:a16="http://schemas.microsoft.com/office/drawing/2014/main" id="{2A7C847A-2583-4DB1-8934-44EE0738ED9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67104" y="3489832"/>
            <a:ext cx="392849" cy="381240"/>
          </a:xfrm>
          <a:prstGeom prst="rect">
            <a:avLst/>
          </a:prstGeom>
        </p:spPr>
      </p:pic>
      <p:pic>
        <p:nvPicPr>
          <p:cNvPr id="41" name="Picture 40">
            <a:extLst>
              <a:ext uri="{FF2B5EF4-FFF2-40B4-BE49-F238E27FC236}">
                <a16:creationId xmlns:a16="http://schemas.microsoft.com/office/drawing/2014/main" id="{B094AED5-209D-4312-8867-19C39E6A3FA6}"/>
              </a:ext>
            </a:extLst>
          </p:cNvPr>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36458" y="5170033"/>
            <a:ext cx="479521" cy="479521"/>
          </a:xfrm>
          <a:prstGeom prst="rect">
            <a:avLst/>
          </a:prstGeom>
        </p:spPr>
      </p:pic>
      <p:pic>
        <p:nvPicPr>
          <p:cNvPr id="42" name="Picture 41">
            <a:extLst>
              <a:ext uri="{FF2B5EF4-FFF2-40B4-BE49-F238E27FC236}">
                <a16:creationId xmlns:a16="http://schemas.microsoft.com/office/drawing/2014/main" id="{84B9B24C-EB22-4206-A92B-11C84E35B6B9}"/>
              </a:ext>
            </a:extLst>
          </p:cNvPr>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500940" y="3488623"/>
            <a:ext cx="406778" cy="406778"/>
          </a:xfrm>
          <a:prstGeom prst="rect">
            <a:avLst/>
          </a:prstGeom>
        </p:spPr>
      </p:pic>
      <p:pic>
        <p:nvPicPr>
          <p:cNvPr id="43" name="Picture 42">
            <a:extLst>
              <a:ext uri="{FF2B5EF4-FFF2-40B4-BE49-F238E27FC236}">
                <a16:creationId xmlns:a16="http://schemas.microsoft.com/office/drawing/2014/main" id="{81DCF33F-68EB-4552-B4B8-D84546C01FBF}"/>
              </a:ext>
            </a:extLst>
          </p:cNvPr>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46354" y="6087722"/>
            <a:ext cx="488038" cy="488038"/>
          </a:xfrm>
          <a:prstGeom prst="rect">
            <a:avLst/>
          </a:prstGeom>
        </p:spPr>
      </p:pic>
      <p:pic>
        <p:nvPicPr>
          <p:cNvPr id="44" name="Picture 43">
            <a:extLst>
              <a:ext uri="{FF2B5EF4-FFF2-40B4-BE49-F238E27FC236}">
                <a16:creationId xmlns:a16="http://schemas.microsoft.com/office/drawing/2014/main" id="{F16979C0-6871-434C-9672-17673E6310CA}"/>
              </a:ext>
            </a:extLst>
          </p:cNvPr>
          <p:cNvPicPr>
            <a:picLocks noChangeAspect="1"/>
          </p:cNvPicPr>
          <p:nvPr/>
        </p:nvPicPr>
        <p:blipFill>
          <a:blip r:embed="rId20"/>
          <a:stretch>
            <a:fillRect/>
          </a:stretch>
        </p:blipFill>
        <p:spPr>
          <a:xfrm>
            <a:off x="7111309" y="3382186"/>
            <a:ext cx="529819" cy="529819"/>
          </a:xfrm>
          <a:prstGeom prst="rect">
            <a:avLst/>
          </a:prstGeom>
        </p:spPr>
      </p:pic>
      <p:pic>
        <p:nvPicPr>
          <p:cNvPr id="45" name="Picture 44">
            <a:extLst>
              <a:ext uri="{FF2B5EF4-FFF2-40B4-BE49-F238E27FC236}">
                <a16:creationId xmlns:a16="http://schemas.microsoft.com/office/drawing/2014/main" id="{CB7E46EA-7A28-4E7E-872E-F196B2D4EFF6}"/>
              </a:ext>
            </a:extLst>
          </p:cNvPr>
          <p:cNvPicPr>
            <a:picLocks noChangeAspect="1"/>
          </p:cNvPicPr>
          <p:nvPr/>
        </p:nvPicPr>
        <p:blipFill>
          <a:blip r:embed="rId21"/>
          <a:stretch>
            <a:fillRect/>
          </a:stretch>
        </p:blipFill>
        <p:spPr>
          <a:xfrm>
            <a:off x="2335186" y="2577598"/>
            <a:ext cx="557267" cy="557267"/>
          </a:xfrm>
          <a:prstGeom prst="rect">
            <a:avLst/>
          </a:prstGeom>
        </p:spPr>
      </p:pic>
      <p:pic>
        <p:nvPicPr>
          <p:cNvPr id="46" name="Picture 45">
            <a:extLst>
              <a:ext uri="{FF2B5EF4-FFF2-40B4-BE49-F238E27FC236}">
                <a16:creationId xmlns:a16="http://schemas.microsoft.com/office/drawing/2014/main" id="{09956F61-1C67-486D-BC37-D41BE84CC02A}"/>
              </a:ext>
            </a:extLst>
          </p:cNvPr>
          <p:cNvPicPr>
            <a:picLocks noChangeAspect="1"/>
          </p:cNvPicPr>
          <p:nvPr/>
        </p:nvPicPr>
        <p:blipFill>
          <a:blip r:embed="rId22"/>
          <a:stretch>
            <a:fillRect/>
          </a:stretch>
        </p:blipFill>
        <p:spPr>
          <a:xfrm>
            <a:off x="7070913" y="4162475"/>
            <a:ext cx="610610" cy="610610"/>
          </a:xfrm>
          <a:prstGeom prst="rect">
            <a:avLst/>
          </a:prstGeom>
        </p:spPr>
      </p:pic>
      <p:sp>
        <p:nvSpPr>
          <p:cNvPr id="47" name="Rectangle 46">
            <a:extLst>
              <a:ext uri="{FF2B5EF4-FFF2-40B4-BE49-F238E27FC236}">
                <a16:creationId xmlns:a16="http://schemas.microsoft.com/office/drawing/2014/main" id="{C71F563E-6889-4176-962E-0A671370310A}"/>
              </a:ext>
            </a:extLst>
          </p:cNvPr>
          <p:cNvSpPr/>
          <p:nvPr/>
        </p:nvSpPr>
        <p:spPr bwMode="auto">
          <a:xfrm>
            <a:off x="666543" y="4873767"/>
            <a:ext cx="3962400" cy="1930594"/>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48" name="Rectangle 47">
            <a:extLst>
              <a:ext uri="{FF2B5EF4-FFF2-40B4-BE49-F238E27FC236}">
                <a16:creationId xmlns:a16="http://schemas.microsoft.com/office/drawing/2014/main" id="{4703800D-1CF1-4CE3-A2E7-F7F82DACDF09}"/>
              </a:ext>
            </a:extLst>
          </p:cNvPr>
          <p:cNvSpPr/>
          <p:nvPr/>
        </p:nvSpPr>
        <p:spPr bwMode="auto">
          <a:xfrm>
            <a:off x="4019343" y="5830528"/>
            <a:ext cx="3922146" cy="112763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23410647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fill="hold"/>
                                        <p:tgtEl>
                                          <p:spTgt spid="29"/>
                                        </p:tgtEl>
                                        <p:attrNameLst>
                                          <p:attrName>ppt_x</p:attrName>
                                        </p:attrNameLst>
                                      </p:cBhvr>
                                      <p:tavLst>
                                        <p:tav tm="0">
                                          <p:val>
                                            <p:strVal val="1+#ppt_w/2"/>
                                          </p:val>
                                        </p:tav>
                                        <p:tav tm="100000">
                                          <p:val>
                                            <p:strVal val="#ppt_x"/>
                                          </p:val>
                                        </p:tav>
                                      </p:tavLst>
                                    </p:anim>
                                    <p:anim calcmode="lin" valueType="num">
                                      <p:cBhvr additive="base">
                                        <p:cTn id="12" dur="50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1+#ppt_w/2"/>
                                          </p:val>
                                        </p:tav>
                                        <p:tav tm="100000">
                                          <p:val>
                                            <p:strVal val="#ppt_x"/>
                                          </p:val>
                                        </p:tav>
                                      </p:tavLst>
                                    </p:anim>
                                    <p:anim calcmode="lin" valueType="num">
                                      <p:cBhvr additive="base">
                                        <p:cTn id="16" dur="50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additive="base">
                                        <p:cTn id="19" dur="500" fill="hold"/>
                                        <p:tgtEl>
                                          <p:spTgt spid="31"/>
                                        </p:tgtEl>
                                        <p:attrNameLst>
                                          <p:attrName>ppt_x</p:attrName>
                                        </p:attrNameLst>
                                      </p:cBhvr>
                                      <p:tavLst>
                                        <p:tav tm="0">
                                          <p:val>
                                            <p:strVal val="1+#ppt_w/2"/>
                                          </p:val>
                                        </p:tav>
                                        <p:tav tm="100000">
                                          <p:val>
                                            <p:strVal val="#ppt_x"/>
                                          </p:val>
                                        </p:tav>
                                      </p:tavLst>
                                    </p:anim>
                                    <p:anim calcmode="lin" valueType="num">
                                      <p:cBhvr additive="base">
                                        <p:cTn id="20" dur="500" fill="hold"/>
                                        <p:tgtEl>
                                          <p:spTgt spid="31"/>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anim calcmode="lin" valueType="num">
                                      <p:cBhvr additive="base">
                                        <p:cTn id="23" dur="500" fill="hold"/>
                                        <p:tgtEl>
                                          <p:spTgt spid="32"/>
                                        </p:tgtEl>
                                        <p:attrNameLst>
                                          <p:attrName>ppt_x</p:attrName>
                                        </p:attrNameLst>
                                      </p:cBhvr>
                                      <p:tavLst>
                                        <p:tav tm="0">
                                          <p:val>
                                            <p:strVal val="1+#ppt_w/2"/>
                                          </p:val>
                                        </p:tav>
                                        <p:tav tm="100000">
                                          <p:val>
                                            <p:strVal val="#ppt_x"/>
                                          </p:val>
                                        </p:tav>
                                      </p:tavLst>
                                    </p:anim>
                                    <p:anim calcmode="lin" valueType="num">
                                      <p:cBhvr additive="base">
                                        <p:cTn id="24" dur="500" fill="hold"/>
                                        <p:tgtEl>
                                          <p:spTgt spid="32"/>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1+#ppt_w/2"/>
                                          </p:val>
                                        </p:tav>
                                        <p:tav tm="100000">
                                          <p:val>
                                            <p:strVal val="#ppt_x"/>
                                          </p:val>
                                        </p:tav>
                                      </p:tavLst>
                                    </p:anim>
                                    <p:anim calcmode="lin" valueType="num">
                                      <p:cBhvr additive="base">
                                        <p:cTn id="28" dur="500" fill="hold"/>
                                        <p:tgtEl>
                                          <p:spTgt spid="34"/>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500" fill="hold"/>
                                        <p:tgtEl>
                                          <p:spTgt spid="36"/>
                                        </p:tgtEl>
                                        <p:attrNameLst>
                                          <p:attrName>ppt_x</p:attrName>
                                        </p:attrNameLst>
                                      </p:cBhvr>
                                      <p:tavLst>
                                        <p:tav tm="0">
                                          <p:val>
                                            <p:strVal val="1+#ppt_w/2"/>
                                          </p:val>
                                        </p:tav>
                                        <p:tav tm="100000">
                                          <p:val>
                                            <p:strVal val="#ppt_x"/>
                                          </p:val>
                                        </p:tav>
                                      </p:tavLst>
                                    </p:anim>
                                    <p:anim calcmode="lin" valueType="num">
                                      <p:cBhvr additive="base">
                                        <p:cTn id="32" dur="500" fill="hold"/>
                                        <p:tgtEl>
                                          <p:spTgt spid="36"/>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500" fill="hold"/>
                                        <p:tgtEl>
                                          <p:spTgt spid="37"/>
                                        </p:tgtEl>
                                        <p:attrNameLst>
                                          <p:attrName>ppt_x</p:attrName>
                                        </p:attrNameLst>
                                      </p:cBhvr>
                                      <p:tavLst>
                                        <p:tav tm="0">
                                          <p:val>
                                            <p:strVal val="1+#ppt_w/2"/>
                                          </p:val>
                                        </p:tav>
                                        <p:tav tm="100000">
                                          <p:val>
                                            <p:strVal val="#ppt_x"/>
                                          </p:val>
                                        </p:tav>
                                      </p:tavLst>
                                    </p:anim>
                                    <p:anim calcmode="lin" valueType="num">
                                      <p:cBhvr additive="base">
                                        <p:cTn id="36" dur="500" fill="hold"/>
                                        <p:tgtEl>
                                          <p:spTgt spid="37"/>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500" fill="hold"/>
                                        <p:tgtEl>
                                          <p:spTgt spid="38"/>
                                        </p:tgtEl>
                                        <p:attrNameLst>
                                          <p:attrName>ppt_x</p:attrName>
                                        </p:attrNameLst>
                                      </p:cBhvr>
                                      <p:tavLst>
                                        <p:tav tm="0">
                                          <p:val>
                                            <p:strVal val="1+#ppt_w/2"/>
                                          </p:val>
                                        </p:tav>
                                        <p:tav tm="100000">
                                          <p:val>
                                            <p:strVal val="#ppt_x"/>
                                          </p:val>
                                        </p:tav>
                                      </p:tavLst>
                                    </p:anim>
                                    <p:anim calcmode="lin" valueType="num">
                                      <p:cBhvr additive="base">
                                        <p:cTn id="40" dur="500" fill="hold"/>
                                        <p:tgtEl>
                                          <p:spTgt spid="38"/>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additive="base">
                                        <p:cTn id="43" dur="500" fill="hold"/>
                                        <p:tgtEl>
                                          <p:spTgt spid="39"/>
                                        </p:tgtEl>
                                        <p:attrNameLst>
                                          <p:attrName>ppt_x</p:attrName>
                                        </p:attrNameLst>
                                      </p:cBhvr>
                                      <p:tavLst>
                                        <p:tav tm="0">
                                          <p:val>
                                            <p:strVal val="1+#ppt_w/2"/>
                                          </p:val>
                                        </p:tav>
                                        <p:tav tm="100000">
                                          <p:val>
                                            <p:strVal val="#ppt_x"/>
                                          </p:val>
                                        </p:tav>
                                      </p:tavLst>
                                    </p:anim>
                                    <p:anim calcmode="lin" valueType="num">
                                      <p:cBhvr additive="base">
                                        <p:cTn id="44" dur="500" fill="hold"/>
                                        <p:tgtEl>
                                          <p:spTgt spid="39"/>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additive="base">
                                        <p:cTn id="47" dur="500" fill="hold"/>
                                        <p:tgtEl>
                                          <p:spTgt spid="40"/>
                                        </p:tgtEl>
                                        <p:attrNameLst>
                                          <p:attrName>ppt_x</p:attrName>
                                        </p:attrNameLst>
                                      </p:cBhvr>
                                      <p:tavLst>
                                        <p:tav tm="0">
                                          <p:val>
                                            <p:strVal val="1+#ppt_w/2"/>
                                          </p:val>
                                        </p:tav>
                                        <p:tav tm="100000">
                                          <p:val>
                                            <p:strVal val="#ppt_x"/>
                                          </p:val>
                                        </p:tav>
                                      </p:tavLst>
                                    </p:anim>
                                    <p:anim calcmode="lin" valueType="num">
                                      <p:cBhvr additive="base">
                                        <p:cTn id="48" dur="500" fill="hold"/>
                                        <p:tgtEl>
                                          <p:spTgt spid="40"/>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 calcmode="lin" valueType="num">
                                      <p:cBhvr additive="base">
                                        <p:cTn id="51" dur="500" fill="hold"/>
                                        <p:tgtEl>
                                          <p:spTgt spid="26"/>
                                        </p:tgtEl>
                                        <p:attrNameLst>
                                          <p:attrName>ppt_x</p:attrName>
                                        </p:attrNameLst>
                                      </p:cBhvr>
                                      <p:tavLst>
                                        <p:tav tm="0">
                                          <p:val>
                                            <p:strVal val="1+#ppt_w/2"/>
                                          </p:val>
                                        </p:tav>
                                        <p:tav tm="100000">
                                          <p:val>
                                            <p:strVal val="#ppt_x"/>
                                          </p:val>
                                        </p:tav>
                                      </p:tavLst>
                                    </p:anim>
                                    <p:anim calcmode="lin" valueType="num">
                                      <p:cBhvr additive="base">
                                        <p:cTn id="52" dur="500" fill="hold"/>
                                        <p:tgtEl>
                                          <p:spTgt spid="2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1+#ppt_w/2"/>
                                          </p:val>
                                        </p:tav>
                                        <p:tav tm="100000">
                                          <p:val>
                                            <p:strVal val="#ppt_x"/>
                                          </p:val>
                                        </p:tav>
                                      </p:tavLst>
                                    </p:anim>
                                    <p:anim calcmode="lin" valueType="num">
                                      <p:cBhvr additive="base">
                                        <p:cTn id="56" dur="500" fill="hold"/>
                                        <p:tgtEl>
                                          <p:spTgt spid="19"/>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additive="base">
                                        <p:cTn id="59" dur="500" fill="hold"/>
                                        <p:tgtEl>
                                          <p:spTgt spid="10"/>
                                        </p:tgtEl>
                                        <p:attrNameLst>
                                          <p:attrName>ppt_x</p:attrName>
                                        </p:attrNameLst>
                                      </p:cBhvr>
                                      <p:tavLst>
                                        <p:tav tm="0">
                                          <p:val>
                                            <p:strVal val="1+#ppt_w/2"/>
                                          </p:val>
                                        </p:tav>
                                        <p:tav tm="100000">
                                          <p:val>
                                            <p:strVal val="#ppt_x"/>
                                          </p:val>
                                        </p:tav>
                                      </p:tavLst>
                                    </p:anim>
                                    <p:anim calcmode="lin" valueType="num">
                                      <p:cBhvr additive="base">
                                        <p:cTn id="60" dur="500" fill="hold"/>
                                        <p:tgtEl>
                                          <p:spTgt spid="10"/>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35"/>
                                        </p:tgtEl>
                                        <p:attrNameLst>
                                          <p:attrName>style.visibility</p:attrName>
                                        </p:attrNameLst>
                                      </p:cBhvr>
                                      <p:to>
                                        <p:strVal val="visible"/>
                                      </p:to>
                                    </p:set>
                                    <p:anim calcmode="lin" valueType="num">
                                      <p:cBhvr additive="base">
                                        <p:cTn id="63" dur="500" fill="hold"/>
                                        <p:tgtEl>
                                          <p:spTgt spid="35"/>
                                        </p:tgtEl>
                                        <p:attrNameLst>
                                          <p:attrName>ppt_x</p:attrName>
                                        </p:attrNameLst>
                                      </p:cBhvr>
                                      <p:tavLst>
                                        <p:tav tm="0">
                                          <p:val>
                                            <p:strVal val="1+#ppt_w/2"/>
                                          </p:val>
                                        </p:tav>
                                        <p:tav tm="100000">
                                          <p:val>
                                            <p:strVal val="#ppt_x"/>
                                          </p:val>
                                        </p:tav>
                                      </p:tavLst>
                                    </p:anim>
                                    <p:anim calcmode="lin" valueType="num">
                                      <p:cBhvr additive="base">
                                        <p:cTn id="64" dur="500" fill="hold"/>
                                        <p:tgtEl>
                                          <p:spTgt spid="35"/>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3"/>
                                        </p:tgtEl>
                                        <p:attrNameLst>
                                          <p:attrName>style.visibility</p:attrName>
                                        </p:attrNameLst>
                                      </p:cBhvr>
                                      <p:to>
                                        <p:strVal val="visible"/>
                                      </p:to>
                                    </p:set>
                                    <p:anim calcmode="lin" valueType="num">
                                      <p:cBhvr additive="base">
                                        <p:cTn id="67" dur="500" fill="hold"/>
                                        <p:tgtEl>
                                          <p:spTgt spid="33"/>
                                        </p:tgtEl>
                                        <p:attrNameLst>
                                          <p:attrName>ppt_x</p:attrName>
                                        </p:attrNameLst>
                                      </p:cBhvr>
                                      <p:tavLst>
                                        <p:tav tm="0">
                                          <p:val>
                                            <p:strVal val="1+#ppt_w/2"/>
                                          </p:val>
                                        </p:tav>
                                        <p:tav tm="100000">
                                          <p:val>
                                            <p:strVal val="#ppt_x"/>
                                          </p:val>
                                        </p:tav>
                                      </p:tavLst>
                                    </p:anim>
                                    <p:anim calcmode="lin" valueType="num">
                                      <p:cBhvr additive="base">
                                        <p:cTn id="68" dur="500" fill="hold"/>
                                        <p:tgtEl>
                                          <p:spTgt spid="3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41"/>
                                        </p:tgtEl>
                                        <p:attrNameLst>
                                          <p:attrName>style.visibility</p:attrName>
                                        </p:attrNameLst>
                                      </p:cBhvr>
                                      <p:to>
                                        <p:strVal val="visible"/>
                                      </p:to>
                                    </p:set>
                                    <p:anim calcmode="lin" valueType="num">
                                      <p:cBhvr additive="base">
                                        <p:cTn id="71" dur="500" fill="hold"/>
                                        <p:tgtEl>
                                          <p:spTgt spid="41"/>
                                        </p:tgtEl>
                                        <p:attrNameLst>
                                          <p:attrName>ppt_x</p:attrName>
                                        </p:attrNameLst>
                                      </p:cBhvr>
                                      <p:tavLst>
                                        <p:tav tm="0">
                                          <p:val>
                                            <p:strVal val="1+#ppt_w/2"/>
                                          </p:val>
                                        </p:tav>
                                        <p:tav tm="100000">
                                          <p:val>
                                            <p:strVal val="#ppt_x"/>
                                          </p:val>
                                        </p:tav>
                                      </p:tavLst>
                                    </p:anim>
                                    <p:anim calcmode="lin" valueType="num">
                                      <p:cBhvr additive="base">
                                        <p:cTn id="72" dur="500" fill="hold"/>
                                        <p:tgtEl>
                                          <p:spTgt spid="41"/>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2"/>
                                        </p:tgtEl>
                                        <p:attrNameLst>
                                          <p:attrName>style.visibility</p:attrName>
                                        </p:attrNameLst>
                                      </p:cBhvr>
                                      <p:to>
                                        <p:strVal val="visible"/>
                                      </p:to>
                                    </p:set>
                                    <p:anim calcmode="lin" valueType="num">
                                      <p:cBhvr additive="base">
                                        <p:cTn id="75" dur="500" fill="hold"/>
                                        <p:tgtEl>
                                          <p:spTgt spid="42"/>
                                        </p:tgtEl>
                                        <p:attrNameLst>
                                          <p:attrName>ppt_x</p:attrName>
                                        </p:attrNameLst>
                                      </p:cBhvr>
                                      <p:tavLst>
                                        <p:tav tm="0">
                                          <p:val>
                                            <p:strVal val="1+#ppt_w/2"/>
                                          </p:val>
                                        </p:tav>
                                        <p:tav tm="100000">
                                          <p:val>
                                            <p:strVal val="#ppt_x"/>
                                          </p:val>
                                        </p:tav>
                                      </p:tavLst>
                                    </p:anim>
                                    <p:anim calcmode="lin" valueType="num">
                                      <p:cBhvr additive="base">
                                        <p:cTn id="76" dur="500" fill="hold"/>
                                        <p:tgtEl>
                                          <p:spTgt spid="42"/>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43"/>
                                        </p:tgtEl>
                                        <p:attrNameLst>
                                          <p:attrName>style.visibility</p:attrName>
                                        </p:attrNameLst>
                                      </p:cBhvr>
                                      <p:to>
                                        <p:strVal val="visible"/>
                                      </p:to>
                                    </p:set>
                                    <p:anim calcmode="lin" valueType="num">
                                      <p:cBhvr additive="base">
                                        <p:cTn id="79" dur="500" fill="hold"/>
                                        <p:tgtEl>
                                          <p:spTgt spid="43"/>
                                        </p:tgtEl>
                                        <p:attrNameLst>
                                          <p:attrName>ppt_x</p:attrName>
                                        </p:attrNameLst>
                                      </p:cBhvr>
                                      <p:tavLst>
                                        <p:tav tm="0">
                                          <p:val>
                                            <p:strVal val="1+#ppt_w/2"/>
                                          </p:val>
                                        </p:tav>
                                        <p:tav tm="100000">
                                          <p:val>
                                            <p:strVal val="#ppt_x"/>
                                          </p:val>
                                        </p:tav>
                                      </p:tavLst>
                                    </p:anim>
                                    <p:anim calcmode="lin" valueType="num">
                                      <p:cBhvr additive="base">
                                        <p:cTn id="80" dur="500" fill="hold"/>
                                        <p:tgtEl>
                                          <p:spTgt spid="43"/>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1+#ppt_w/2"/>
                                          </p:val>
                                        </p:tav>
                                        <p:tav tm="100000">
                                          <p:val>
                                            <p:strVal val="#ppt_x"/>
                                          </p:val>
                                        </p:tav>
                                      </p:tavLst>
                                    </p:anim>
                                    <p:anim calcmode="lin" valueType="num">
                                      <p:cBhvr additive="base">
                                        <p:cTn id="84" dur="500" fill="hold"/>
                                        <p:tgtEl>
                                          <p:spTgt spid="45"/>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4"/>
                                        </p:tgtEl>
                                        <p:attrNameLst>
                                          <p:attrName>style.visibility</p:attrName>
                                        </p:attrNameLst>
                                      </p:cBhvr>
                                      <p:to>
                                        <p:strVal val="visible"/>
                                      </p:to>
                                    </p:set>
                                    <p:anim calcmode="lin" valueType="num">
                                      <p:cBhvr additive="base">
                                        <p:cTn id="87" dur="500" fill="hold"/>
                                        <p:tgtEl>
                                          <p:spTgt spid="44"/>
                                        </p:tgtEl>
                                        <p:attrNameLst>
                                          <p:attrName>ppt_x</p:attrName>
                                        </p:attrNameLst>
                                      </p:cBhvr>
                                      <p:tavLst>
                                        <p:tav tm="0">
                                          <p:val>
                                            <p:strVal val="1+#ppt_w/2"/>
                                          </p:val>
                                        </p:tav>
                                        <p:tav tm="100000">
                                          <p:val>
                                            <p:strVal val="#ppt_x"/>
                                          </p:val>
                                        </p:tav>
                                      </p:tavLst>
                                    </p:anim>
                                    <p:anim calcmode="lin" valueType="num">
                                      <p:cBhvr additive="base">
                                        <p:cTn id="88" dur="500" fill="hold"/>
                                        <p:tgtEl>
                                          <p:spTgt spid="4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6"/>
                                        </p:tgtEl>
                                        <p:attrNameLst>
                                          <p:attrName>style.visibility</p:attrName>
                                        </p:attrNameLst>
                                      </p:cBhvr>
                                      <p:to>
                                        <p:strVal val="visible"/>
                                      </p:to>
                                    </p:set>
                                    <p:anim calcmode="lin" valueType="num">
                                      <p:cBhvr additive="base">
                                        <p:cTn id="91" dur="500" fill="hold"/>
                                        <p:tgtEl>
                                          <p:spTgt spid="46"/>
                                        </p:tgtEl>
                                        <p:attrNameLst>
                                          <p:attrName>ppt_x</p:attrName>
                                        </p:attrNameLst>
                                      </p:cBhvr>
                                      <p:tavLst>
                                        <p:tav tm="0">
                                          <p:val>
                                            <p:strVal val="1+#ppt_w/2"/>
                                          </p:val>
                                        </p:tav>
                                        <p:tav tm="100000">
                                          <p:val>
                                            <p:strVal val="#ppt_x"/>
                                          </p:val>
                                        </p:tav>
                                      </p:tavLst>
                                    </p:anim>
                                    <p:anim calcmode="lin" valueType="num">
                                      <p:cBhvr additive="base">
                                        <p:cTn id="92" dur="50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lements of Azure IoT Suite </a:t>
            </a:r>
          </a:p>
        </p:txBody>
      </p:sp>
      <p:grpSp>
        <p:nvGrpSpPr>
          <p:cNvPr id="45" name="Group 44">
            <a:extLst>
              <a:ext uri="{FF2B5EF4-FFF2-40B4-BE49-F238E27FC236}">
                <a16:creationId xmlns:a16="http://schemas.microsoft.com/office/drawing/2014/main" id="{E478FB29-E1DE-4420-B2C0-90156BF81B25}"/>
              </a:ext>
            </a:extLst>
          </p:cNvPr>
          <p:cNvGrpSpPr/>
          <p:nvPr/>
        </p:nvGrpSpPr>
        <p:grpSpPr>
          <a:xfrm>
            <a:off x="4110813" y="2916611"/>
            <a:ext cx="1941718" cy="2155768"/>
            <a:chOff x="4110813" y="2916611"/>
            <a:chExt cx="1941718" cy="2155768"/>
          </a:xfrm>
        </p:grpSpPr>
        <p:sp>
          <p:nvSpPr>
            <p:cNvPr id="47" name="Rektangel 13">
              <a:extLst>
                <a:ext uri="{FF2B5EF4-FFF2-40B4-BE49-F238E27FC236}">
                  <a16:creationId xmlns:a16="http://schemas.microsoft.com/office/drawing/2014/main" id="{49886F72-3C7D-4EEA-91A5-7B5AA644A5C9}"/>
                </a:ext>
              </a:extLst>
            </p:cNvPr>
            <p:cNvSpPr/>
            <p:nvPr/>
          </p:nvSpPr>
          <p:spPr bwMode="auto">
            <a:xfrm>
              <a:off x="4110813" y="2916611"/>
              <a:ext cx="1941718" cy="2155768"/>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Transport</a:t>
              </a: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8" name="Likbent triangel 10">
              <a:extLst>
                <a:ext uri="{FF2B5EF4-FFF2-40B4-BE49-F238E27FC236}">
                  <a16:creationId xmlns:a16="http://schemas.microsoft.com/office/drawing/2014/main" id="{54E2E18E-5878-4E38-BA6B-291EE16E4227}"/>
                </a:ext>
              </a:extLst>
            </p:cNvPr>
            <p:cNvSpPr/>
            <p:nvPr/>
          </p:nvSpPr>
          <p:spPr bwMode="auto">
            <a:xfrm rot="5400000">
              <a:off x="4042234" y="3932978"/>
              <a:ext cx="399011" cy="261852"/>
            </a:xfrm>
            <a:prstGeom prst="triangle">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E99A614D-8DF7-416E-BE3E-7DE242484DE8}"/>
              </a:ext>
            </a:extLst>
          </p:cNvPr>
          <p:cNvGrpSpPr/>
          <p:nvPr/>
        </p:nvGrpSpPr>
        <p:grpSpPr>
          <a:xfrm>
            <a:off x="10006619" y="2917302"/>
            <a:ext cx="2012374" cy="2149269"/>
            <a:chOff x="10006619" y="2917302"/>
            <a:chExt cx="2012374" cy="2149269"/>
          </a:xfrm>
          <a:solidFill>
            <a:srgbClr val="00183C"/>
          </a:solidFill>
        </p:grpSpPr>
        <p:sp>
          <p:nvSpPr>
            <p:cNvPr id="50" name="Rektangel 23">
              <a:extLst>
                <a:ext uri="{FF2B5EF4-FFF2-40B4-BE49-F238E27FC236}">
                  <a16:creationId xmlns:a16="http://schemas.microsoft.com/office/drawing/2014/main" id="{9D5BDDB4-A992-45DF-A8A0-4BFC0D41A98F}"/>
                </a:ext>
              </a:extLst>
            </p:cNvPr>
            <p:cNvSpPr/>
            <p:nvPr/>
          </p:nvSpPr>
          <p:spPr bwMode="auto">
            <a:xfrm>
              <a:off x="10006621" y="2917302"/>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REPORTS</a:t>
              </a:r>
            </a:p>
          </p:txBody>
        </p:sp>
        <p:sp>
          <p:nvSpPr>
            <p:cNvPr id="57" name="Rektangel 26">
              <a:extLst>
                <a:ext uri="{FF2B5EF4-FFF2-40B4-BE49-F238E27FC236}">
                  <a16:creationId xmlns:a16="http://schemas.microsoft.com/office/drawing/2014/main" id="{17B554B8-3CFC-4B0E-8F09-E7160C646051}"/>
                </a:ext>
              </a:extLst>
            </p:cNvPr>
            <p:cNvSpPr/>
            <p:nvPr/>
          </p:nvSpPr>
          <p:spPr bwMode="auto">
            <a:xfrm>
              <a:off x="10006621" y="3637912"/>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QL</a:t>
              </a:r>
              <a:r>
                <a:rPr lang="en-US" sz="2000" kern="0" dirty="0">
                  <a:gradFill>
                    <a:gsLst>
                      <a:gs pos="0">
                        <a:srgbClr val="FFFFFF"/>
                      </a:gs>
                      <a:gs pos="100000">
                        <a:srgbClr val="FFFFFF"/>
                      </a:gs>
                    </a:gsLst>
                    <a:lin ang="5400000" scaled="0"/>
                  </a:gradFill>
                  <a:latin typeface="Segoe UI Light"/>
                  <a:ea typeface="Segoe UI" pitchFamily="34" charset="0"/>
                  <a:cs typeface="Segoe UI" pitchFamily="34" charset="0"/>
                </a:rPr>
                <a:t> / NOSQL</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8" name="Rektangel 27">
              <a:extLst>
                <a:ext uri="{FF2B5EF4-FFF2-40B4-BE49-F238E27FC236}">
                  <a16:creationId xmlns:a16="http://schemas.microsoft.com/office/drawing/2014/main" id="{32CE18C2-6142-4D7E-9227-0477785CAA35}"/>
                </a:ext>
              </a:extLst>
            </p:cNvPr>
            <p:cNvSpPr/>
            <p:nvPr/>
          </p:nvSpPr>
          <p:spPr bwMode="auto">
            <a:xfrm>
              <a:off x="10006621" y="4346571"/>
              <a:ext cx="2012372" cy="720000"/>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ERP / LOB</a:t>
              </a:r>
            </a:p>
          </p:txBody>
        </p:sp>
        <p:sp>
          <p:nvSpPr>
            <p:cNvPr id="63" name="Likbent triangel 28">
              <a:extLst>
                <a:ext uri="{FF2B5EF4-FFF2-40B4-BE49-F238E27FC236}">
                  <a16:creationId xmlns:a16="http://schemas.microsoft.com/office/drawing/2014/main" id="{2550D5DA-D078-4912-9818-CDC32B359736}"/>
                </a:ext>
              </a:extLst>
            </p:cNvPr>
            <p:cNvSpPr/>
            <p:nvPr/>
          </p:nvSpPr>
          <p:spPr bwMode="auto">
            <a:xfrm rot="5400000">
              <a:off x="9938041" y="3183955"/>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Likbent triangel 29">
              <a:extLst>
                <a:ext uri="{FF2B5EF4-FFF2-40B4-BE49-F238E27FC236}">
                  <a16:creationId xmlns:a16="http://schemas.microsoft.com/office/drawing/2014/main" id="{B2882268-AC92-49BC-B923-5CBE05A93809}"/>
                </a:ext>
              </a:extLst>
            </p:cNvPr>
            <p:cNvSpPr/>
            <p:nvPr/>
          </p:nvSpPr>
          <p:spPr bwMode="auto">
            <a:xfrm rot="5400000">
              <a:off x="9938040" y="3866986"/>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Likbent triangel 30">
              <a:extLst>
                <a:ext uri="{FF2B5EF4-FFF2-40B4-BE49-F238E27FC236}">
                  <a16:creationId xmlns:a16="http://schemas.microsoft.com/office/drawing/2014/main" id="{9BC2441A-D77C-484A-A90F-5C038C58CC60}"/>
                </a:ext>
              </a:extLst>
            </p:cNvPr>
            <p:cNvSpPr/>
            <p:nvPr/>
          </p:nvSpPr>
          <p:spPr bwMode="auto">
            <a:xfrm rot="5400000">
              <a:off x="9938039" y="4550017"/>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6" name="Rektangel 9">
            <a:extLst>
              <a:ext uri="{FF2B5EF4-FFF2-40B4-BE49-F238E27FC236}">
                <a16:creationId xmlns:a16="http://schemas.microsoft.com/office/drawing/2014/main" id="{100FF559-A57F-4805-B99F-522FA0411818}"/>
              </a:ext>
            </a:extLst>
          </p:cNvPr>
          <p:cNvSpPr/>
          <p:nvPr/>
        </p:nvSpPr>
        <p:spPr bwMode="auto">
          <a:xfrm>
            <a:off x="1750119" y="2914706"/>
            <a:ext cx="2360696" cy="2157673"/>
          </a:xfrm>
          <a:prstGeom prst="rect">
            <a:avLst/>
          </a:prstGeom>
          <a:solidFill>
            <a:schemeClr val="accent1">
              <a:lumMod val="75000"/>
            </a:schemeClr>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GATEWAY/ DEVICE</a:t>
            </a:r>
          </a:p>
        </p:txBody>
      </p:sp>
      <p:sp>
        <p:nvSpPr>
          <p:cNvPr id="67" name="Rektangel 34">
            <a:extLst>
              <a:ext uri="{FF2B5EF4-FFF2-40B4-BE49-F238E27FC236}">
                <a16:creationId xmlns:a16="http://schemas.microsoft.com/office/drawing/2014/main" id="{95B18D59-130C-4BFE-8D2A-F89261DF8745}"/>
              </a:ext>
            </a:extLst>
          </p:cNvPr>
          <p:cNvSpPr/>
          <p:nvPr/>
        </p:nvSpPr>
        <p:spPr bwMode="auto">
          <a:xfrm>
            <a:off x="86072" y="2914707"/>
            <a:ext cx="1664046" cy="2159392"/>
          </a:xfrm>
          <a:prstGeom prst="rect">
            <a:avLst/>
          </a:prstGeom>
          <a:solidFill>
            <a:srgbClr val="00183C"/>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nsor</a:t>
            </a:r>
          </a:p>
          <a:p>
            <a:pPr marL="0" marR="0" lvl="0" indent="0" algn="ctr" defTabSz="932406" eaLnBrk="1" fontAlgn="auto" latinLnBrk="0" hangingPunct="1">
              <a:lnSpc>
                <a:spcPct val="100000"/>
              </a:lnSpc>
              <a:spcBef>
                <a:spcPts val="0"/>
              </a:spcBef>
              <a:spcAft>
                <a:spcPts val="0"/>
              </a:spcAft>
              <a:buClrTx/>
              <a:buSzTx/>
              <a:buFontTx/>
              <a:buNone/>
              <a:tabLst/>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Data</a:t>
            </a:r>
            <a:endPar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nvGrpSpPr>
          <p:cNvPr id="68" name="Group 67">
            <a:extLst>
              <a:ext uri="{FF2B5EF4-FFF2-40B4-BE49-F238E27FC236}">
                <a16:creationId xmlns:a16="http://schemas.microsoft.com/office/drawing/2014/main" id="{30B6BB13-276A-402A-9EEC-E6D504408325}"/>
              </a:ext>
            </a:extLst>
          </p:cNvPr>
          <p:cNvGrpSpPr/>
          <p:nvPr/>
        </p:nvGrpSpPr>
        <p:grpSpPr>
          <a:xfrm>
            <a:off x="8064895" y="2918331"/>
            <a:ext cx="1941721" cy="2155768"/>
            <a:chOff x="8064900" y="2914706"/>
            <a:chExt cx="1941721" cy="2155768"/>
          </a:xfrm>
          <a:solidFill>
            <a:srgbClr val="00183C"/>
          </a:solidFill>
        </p:grpSpPr>
        <p:sp>
          <p:nvSpPr>
            <p:cNvPr id="69" name="Rektangel 22">
              <a:extLst>
                <a:ext uri="{FF2B5EF4-FFF2-40B4-BE49-F238E27FC236}">
                  <a16:creationId xmlns:a16="http://schemas.microsoft.com/office/drawing/2014/main" id="{98FF4704-2608-47CD-931F-B8965325AF0D}"/>
                </a:ext>
              </a:extLst>
            </p:cNvPr>
            <p:cNvSpPr/>
            <p:nvPr/>
          </p:nvSpPr>
          <p:spPr bwMode="auto">
            <a:xfrm>
              <a:off x="8064903" y="2914706"/>
              <a:ext cx="1941718" cy="2155768"/>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lvl="0" algn="ctr" defTabSz="932406">
                <a:defRPr/>
              </a:pPr>
              <a:r>
                <a:rPr lang="en-US" sz="2400" kern="0" dirty="0">
                  <a:gradFill>
                    <a:gsLst>
                      <a:gs pos="0">
                        <a:srgbClr val="FFFFFF"/>
                      </a:gs>
                      <a:gs pos="100000">
                        <a:srgbClr val="FFFFFF"/>
                      </a:gs>
                    </a:gsLst>
                    <a:lin ang="5400000" scaled="0"/>
                  </a:gradFill>
                  <a:latin typeface="Segoe UI Light"/>
                  <a:ea typeface="Segoe UI" pitchFamily="34" charset="0"/>
                  <a:cs typeface="Segoe UI" pitchFamily="34" charset="0"/>
                </a:rPr>
                <a:t>RULES &amp; ROUTING</a:t>
              </a:r>
              <a:endParaRPr lang="en-US" sz="8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2" name="Likbent triangel 18">
              <a:extLst>
                <a:ext uri="{FF2B5EF4-FFF2-40B4-BE49-F238E27FC236}">
                  <a16:creationId xmlns:a16="http://schemas.microsoft.com/office/drawing/2014/main" id="{79B5AABC-2835-4FB5-9357-D2A6C0A8C082}"/>
                </a:ext>
              </a:extLst>
            </p:cNvPr>
            <p:cNvSpPr/>
            <p:nvPr/>
          </p:nvSpPr>
          <p:spPr bwMode="auto">
            <a:xfrm rot="5400000">
              <a:off x="7996322" y="3326532"/>
              <a:ext cx="399011" cy="261852"/>
            </a:xfrm>
            <a:prstGeom prst="triangl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73" name="Likbent triangel 20">
              <a:extLst>
                <a:ext uri="{FF2B5EF4-FFF2-40B4-BE49-F238E27FC236}">
                  <a16:creationId xmlns:a16="http://schemas.microsoft.com/office/drawing/2014/main" id="{9C0B9D76-E9B2-4F99-8BA1-94BA93A264A9}"/>
                </a:ext>
              </a:extLst>
            </p:cNvPr>
            <p:cNvSpPr/>
            <p:nvPr/>
          </p:nvSpPr>
          <p:spPr bwMode="auto">
            <a:xfrm rot="5400000">
              <a:off x="7996320" y="4396796"/>
              <a:ext cx="399011" cy="261852"/>
            </a:xfrm>
            <a:prstGeom prst="triangle">
              <a:avLst/>
            </a:prstGeom>
            <a:grp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91440" tIns="91440" rIns="34294" bIns="34294" numCol="1" spcCol="0" rtlCol="0" fromWordArt="0" anchor="ctr" anchorCtr="0" forceAA="0" compatLnSpc="1">
              <a:prstTxWarp prst="textNoShape">
                <a:avLst/>
              </a:prstTxWarp>
              <a:noAutofit/>
            </a:bodyPr>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43CE634B-1CBD-435F-871E-D90771E404E6}"/>
              </a:ext>
            </a:extLst>
          </p:cNvPr>
          <p:cNvGrpSpPr/>
          <p:nvPr/>
        </p:nvGrpSpPr>
        <p:grpSpPr>
          <a:xfrm>
            <a:off x="6052527" y="2918841"/>
            <a:ext cx="2012372" cy="1085505"/>
            <a:chOff x="6052531" y="2916610"/>
            <a:chExt cx="2012372" cy="1085505"/>
          </a:xfrm>
        </p:grpSpPr>
        <p:sp>
          <p:nvSpPr>
            <p:cNvPr id="75" name="Rektangel 17">
              <a:extLst>
                <a:ext uri="{FF2B5EF4-FFF2-40B4-BE49-F238E27FC236}">
                  <a16:creationId xmlns:a16="http://schemas.microsoft.com/office/drawing/2014/main" id="{6CE1AEFC-8AD0-4137-A16A-B45FBA731716}"/>
                </a:ext>
              </a:extLst>
            </p:cNvPr>
            <p:cNvSpPr/>
            <p:nvPr/>
          </p:nvSpPr>
          <p:spPr bwMode="auto">
            <a:xfrm>
              <a:off x="6052531" y="2916610"/>
              <a:ext cx="2012372" cy="1085505"/>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SECURITY</a:t>
              </a:r>
            </a:p>
          </p:txBody>
        </p:sp>
        <p:sp>
          <p:nvSpPr>
            <p:cNvPr id="76" name="Likbent triangel 14">
              <a:extLst>
                <a:ext uri="{FF2B5EF4-FFF2-40B4-BE49-F238E27FC236}">
                  <a16:creationId xmlns:a16="http://schemas.microsoft.com/office/drawing/2014/main" id="{983FFBFF-4E7E-45BA-AC5A-EEC95B4A1E14}"/>
                </a:ext>
              </a:extLst>
            </p:cNvPr>
            <p:cNvSpPr/>
            <p:nvPr/>
          </p:nvSpPr>
          <p:spPr bwMode="auto">
            <a:xfrm rot="5400000">
              <a:off x="5983951" y="3387319"/>
              <a:ext cx="399011" cy="261852"/>
            </a:xfrm>
            <a:prstGeom prst="triangle">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8AA7EF51-0E2A-4B6D-AD0D-C5F11540CD58}"/>
              </a:ext>
            </a:extLst>
          </p:cNvPr>
          <p:cNvGrpSpPr/>
          <p:nvPr/>
        </p:nvGrpSpPr>
        <p:grpSpPr>
          <a:xfrm>
            <a:off x="6052929" y="4002425"/>
            <a:ext cx="2012372" cy="1070264"/>
            <a:chOff x="6233504" y="5927004"/>
            <a:chExt cx="2012372" cy="1070264"/>
          </a:xfrm>
          <a:solidFill>
            <a:srgbClr val="00188F"/>
          </a:solidFill>
        </p:grpSpPr>
        <p:sp>
          <p:nvSpPr>
            <p:cNvPr id="78" name="Rektangel 19">
              <a:extLst>
                <a:ext uri="{FF2B5EF4-FFF2-40B4-BE49-F238E27FC236}">
                  <a16:creationId xmlns:a16="http://schemas.microsoft.com/office/drawing/2014/main" id="{77557929-2AAD-45F3-8A95-B6A899E36022}"/>
                </a:ext>
              </a:extLst>
            </p:cNvPr>
            <p:cNvSpPr/>
            <p:nvPr/>
          </p:nvSpPr>
          <p:spPr bwMode="auto">
            <a:xfrm>
              <a:off x="6233504" y="5927004"/>
              <a:ext cx="2012372" cy="1070264"/>
            </a:xfrm>
            <a:prstGeom prst="rect">
              <a:avLst/>
            </a:prstGeom>
            <a:grp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marL="0" marR="0" lvl="0" indent="0" algn="ctr" defTabSz="93240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DEVICE MGMT</a:t>
              </a:r>
            </a:p>
          </p:txBody>
        </p:sp>
        <p:sp>
          <p:nvSpPr>
            <p:cNvPr id="79" name="Likbent triangel 21">
              <a:extLst>
                <a:ext uri="{FF2B5EF4-FFF2-40B4-BE49-F238E27FC236}">
                  <a16:creationId xmlns:a16="http://schemas.microsoft.com/office/drawing/2014/main" id="{0780B8D5-3B51-4DBF-9A92-3ACEA8F19C85}"/>
                </a:ext>
              </a:extLst>
            </p:cNvPr>
            <p:cNvSpPr/>
            <p:nvPr/>
          </p:nvSpPr>
          <p:spPr bwMode="auto">
            <a:xfrm rot="5400000">
              <a:off x="6164926" y="6331210"/>
              <a:ext cx="399011" cy="261852"/>
            </a:xfrm>
            <a:prstGeom prst="triangle">
              <a:avLst/>
            </a:prstGeom>
            <a:grpFill/>
            <a:ln w="9525" cap="flat" cmpd="sng" algn="ctr">
              <a:solidFill>
                <a:srgbClr val="FFFFFF"/>
              </a:solidFill>
              <a:prstDash val="solid"/>
              <a:headEnd type="none" w="med" len="med"/>
              <a:tailEnd type="none" w="med" len="med"/>
            </a:ln>
            <a:effectLst/>
          </p:spPr>
          <p:txBody>
            <a:bodyPr lIns="91440" tIns="91440" rIns="34294" bIns="34294" rtlCol="0" anchor="b" anchorCtr="0"/>
            <a:lstStyle/>
            <a:p>
              <a:pPr marL="0" marR="0" lvl="0" indent="0" algn="ctr" defTabSz="932406"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3" name="Group 82">
            <a:extLst>
              <a:ext uri="{FF2B5EF4-FFF2-40B4-BE49-F238E27FC236}">
                <a16:creationId xmlns:a16="http://schemas.microsoft.com/office/drawing/2014/main" id="{CA3BDC7B-E1E1-4C76-8EB6-4C28DB8C541A}"/>
              </a:ext>
            </a:extLst>
          </p:cNvPr>
          <p:cNvGrpSpPr/>
          <p:nvPr/>
        </p:nvGrpSpPr>
        <p:grpSpPr>
          <a:xfrm>
            <a:off x="3297201" y="4499349"/>
            <a:ext cx="813611" cy="544765"/>
            <a:chOff x="3297201" y="4499349"/>
            <a:chExt cx="813611" cy="544765"/>
          </a:xfrm>
        </p:grpSpPr>
        <p:sp>
          <p:nvSpPr>
            <p:cNvPr id="84" name="Rektangel 36">
              <a:extLst>
                <a:ext uri="{FF2B5EF4-FFF2-40B4-BE49-F238E27FC236}">
                  <a16:creationId xmlns:a16="http://schemas.microsoft.com/office/drawing/2014/main" id="{D04A9CAC-DD01-404E-80E9-3C0718CEA1DB}"/>
                </a:ext>
              </a:extLst>
            </p:cNvPr>
            <p:cNvSpPr/>
            <p:nvPr/>
          </p:nvSpPr>
          <p:spPr bwMode="auto">
            <a:xfrm>
              <a:off x="3297203" y="4559372"/>
              <a:ext cx="813609" cy="409922"/>
            </a:xfrm>
            <a:prstGeom prst="rect">
              <a:avLst/>
            </a:prstGeom>
            <a:solidFill>
              <a:srgbClr val="00188F"/>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sp>
          <p:nvSpPr>
            <p:cNvPr id="85" name="textruta 37">
              <a:extLst>
                <a:ext uri="{FF2B5EF4-FFF2-40B4-BE49-F238E27FC236}">
                  <a16:creationId xmlns:a16="http://schemas.microsoft.com/office/drawing/2014/main" id="{5C6E8AFA-3377-4113-9404-E6894B460D35}"/>
                </a:ext>
              </a:extLst>
            </p:cNvPr>
            <p:cNvSpPr txBox="1"/>
            <p:nvPr/>
          </p:nvSpPr>
          <p:spPr>
            <a:xfrm>
              <a:off x="3297201" y="4499349"/>
              <a:ext cx="813607"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rPr>
                <a:t>SDK</a:t>
              </a:r>
            </a:p>
          </p:txBody>
        </p:sp>
      </p:grpSp>
      <p:sp>
        <p:nvSpPr>
          <p:cNvPr id="86" name="Likbent triangel 10">
            <a:extLst>
              <a:ext uri="{FF2B5EF4-FFF2-40B4-BE49-F238E27FC236}">
                <a16:creationId xmlns:a16="http://schemas.microsoft.com/office/drawing/2014/main" id="{B12BDBD8-547B-4107-9ACF-66DB31C90001}"/>
              </a:ext>
            </a:extLst>
          </p:cNvPr>
          <p:cNvSpPr/>
          <p:nvPr/>
        </p:nvSpPr>
        <p:spPr bwMode="auto">
          <a:xfrm rot="5400000">
            <a:off x="1685524" y="3895988"/>
            <a:ext cx="399011" cy="261852"/>
          </a:xfrm>
          <a:prstGeom prst="triangle">
            <a:avLst/>
          </a:prstGeom>
          <a:solidFill>
            <a:srgbClr val="00183C"/>
          </a:solidFill>
          <a:ln w="9525" cap="flat" cmpd="sng" algn="ctr">
            <a:solidFill>
              <a:srgbClr val="FFFFFF"/>
            </a:solidFill>
            <a:prstDash val="solid"/>
            <a:headEnd type="none" w="med" len="med"/>
            <a:tailEnd type="none" w="med" len="med"/>
          </a:ln>
          <a:effectLst/>
        </p:spPr>
        <p:txBody>
          <a:bodyPr lIns="91440" tIns="91440" rIns="34294" bIns="34294" rtlCol="0" anchor="ctr" anchorCtr="0"/>
          <a:lstStyle/>
          <a:p>
            <a:pPr algn="ctr" defTabSz="932406"/>
            <a:endParaRPr lang="en-US" sz="2400" kern="0" dirty="0">
              <a:gradFill>
                <a:gsLst>
                  <a:gs pos="0">
                    <a:srgbClr val="FFFFFF"/>
                  </a:gs>
                  <a:gs pos="100000">
                    <a:srgbClr val="FFFFFF"/>
                  </a:gs>
                </a:gsLst>
                <a:lin ang="5400000" scaled="0"/>
              </a:gradFill>
              <a:latin typeface="Segoe UI Light"/>
              <a:cs typeface="Segoe UI" pitchFamily="34" charset="0"/>
            </a:endParaRPr>
          </a:p>
        </p:txBody>
      </p:sp>
      <p:grpSp>
        <p:nvGrpSpPr>
          <p:cNvPr id="6" name="Group 5">
            <a:extLst>
              <a:ext uri="{FF2B5EF4-FFF2-40B4-BE49-F238E27FC236}">
                <a16:creationId xmlns:a16="http://schemas.microsoft.com/office/drawing/2014/main" id="{744A0533-9F88-456A-B185-0F3F683B92B7}"/>
              </a:ext>
            </a:extLst>
          </p:cNvPr>
          <p:cNvGrpSpPr/>
          <p:nvPr/>
        </p:nvGrpSpPr>
        <p:grpSpPr>
          <a:xfrm>
            <a:off x="3428732" y="1851360"/>
            <a:ext cx="4636161" cy="977677"/>
            <a:chOff x="3428732" y="1851360"/>
            <a:chExt cx="4636161" cy="977677"/>
          </a:xfrm>
        </p:grpSpPr>
        <p:sp>
          <p:nvSpPr>
            <p:cNvPr id="4" name="Right Brace 3">
              <a:extLst>
                <a:ext uri="{FF2B5EF4-FFF2-40B4-BE49-F238E27FC236}">
                  <a16:creationId xmlns:a16="http://schemas.microsoft.com/office/drawing/2014/main" id="{AE33621E-F0F0-4F8E-8E03-CC78F67895E0}"/>
                </a:ext>
              </a:extLst>
            </p:cNvPr>
            <p:cNvSpPr/>
            <p:nvPr/>
          </p:nvSpPr>
          <p:spPr>
            <a:xfrm rot="16200000">
              <a:off x="5601071" y="365214"/>
              <a:ext cx="291484" cy="4636161"/>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5" name="TextBox 4">
              <a:extLst>
                <a:ext uri="{FF2B5EF4-FFF2-40B4-BE49-F238E27FC236}">
                  <a16:creationId xmlns:a16="http://schemas.microsoft.com/office/drawing/2014/main" id="{CB60471D-78A2-4108-B51E-A8DB8F004D31}"/>
                </a:ext>
              </a:extLst>
            </p:cNvPr>
            <p:cNvSpPr txBox="1"/>
            <p:nvPr/>
          </p:nvSpPr>
          <p:spPr>
            <a:xfrm>
              <a:off x="4510132" y="1851360"/>
              <a:ext cx="2473306"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AZURE IoT </a:t>
              </a:r>
              <a:r>
                <a:rPr lang="sv-SE" sz="2400" dirty="0" err="1">
                  <a:gradFill>
                    <a:gsLst>
                      <a:gs pos="2917">
                        <a:schemeClr val="tx1"/>
                      </a:gs>
                      <a:gs pos="30000">
                        <a:schemeClr val="tx1"/>
                      </a:gs>
                    </a:gsLst>
                    <a:lin ang="5400000" scaled="0"/>
                  </a:gradFill>
                </a:rPr>
                <a:t>Hub</a:t>
              </a:r>
              <a:endParaRPr lang="sv-SE" sz="2400" dirty="0">
                <a:gradFill>
                  <a:gsLst>
                    <a:gs pos="2917">
                      <a:schemeClr val="tx1"/>
                    </a:gs>
                    <a:gs pos="30000">
                      <a:schemeClr val="tx1"/>
                    </a:gs>
                  </a:gsLst>
                  <a:lin ang="5400000" scaled="0"/>
                </a:gradFill>
              </a:endParaRPr>
            </a:p>
          </p:txBody>
        </p:sp>
      </p:grpSp>
      <p:grpSp>
        <p:nvGrpSpPr>
          <p:cNvPr id="7" name="Group 6">
            <a:extLst>
              <a:ext uri="{FF2B5EF4-FFF2-40B4-BE49-F238E27FC236}">
                <a16:creationId xmlns:a16="http://schemas.microsoft.com/office/drawing/2014/main" id="{DCB1D402-6C8A-436B-BA4A-08AA4F42010D}"/>
              </a:ext>
            </a:extLst>
          </p:cNvPr>
          <p:cNvGrpSpPr/>
          <p:nvPr/>
        </p:nvGrpSpPr>
        <p:grpSpPr>
          <a:xfrm>
            <a:off x="3319416" y="5400313"/>
            <a:ext cx="8699578" cy="878202"/>
            <a:chOff x="3319416" y="5400313"/>
            <a:chExt cx="8699578" cy="878202"/>
          </a:xfrm>
        </p:grpSpPr>
        <p:sp>
          <p:nvSpPr>
            <p:cNvPr id="90" name="Right Brace 89">
              <a:extLst>
                <a:ext uri="{FF2B5EF4-FFF2-40B4-BE49-F238E27FC236}">
                  <a16:creationId xmlns:a16="http://schemas.microsoft.com/office/drawing/2014/main" id="{2752F0F2-87EE-4ED5-B147-3E44325389A7}"/>
                </a:ext>
              </a:extLst>
            </p:cNvPr>
            <p:cNvSpPr/>
            <p:nvPr/>
          </p:nvSpPr>
          <p:spPr>
            <a:xfrm rot="5400000">
              <a:off x="7523463" y="1196266"/>
              <a:ext cx="291484" cy="8699578"/>
            </a:xfrm>
            <a:prstGeom prst="righ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91" name="TextBox 90">
              <a:extLst>
                <a:ext uri="{FF2B5EF4-FFF2-40B4-BE49-F238E27FC236}">
                  <a16:creationId xmlns:a16="http://schemas.microsoft.com/office/drawing/2014/main" id="{6F6EA082-2E1C-4CA8-8177-AC1A00735236}"/>
                </a:ext>
              </a:extLst>
            </p:cNvPr>
            <p:cNvSpPr txBox="1"/>
            <p:nvPr/>
          </p:nvSpPr>
          <p:spPr>
            <a:xfrm>
              <a:off x="6432552" y="5650651"/>
              <a:ext cx="2575064" cy="627864"/>
            </a:xfrm>
            <a:prstGeom prst="rect">
              <a:avLst/>
            </a:prstGeom>
            <a:noFill/>
          </p:spPr>
          <p:txBody>
            <a:bodyPr wrap="none" lIns="182880" tIns="146304" rIns="182880" bIns="146304" rtlCol="0">
              <a:spAutoFit/>
            </a:bodyPr>
            <a:lstStyle/>
            <a:p>
              <a:pPr>
                <a:lnSpc>
                  <a:spcPct val="90000"/>
                </a:lnSpc>
                <a:spcAft>
                  <a:spcPts val="600"/>
                </a:spcAft>
              </a:pPr>
              <a:r>
                <a:rPr lang="sv-SE" sz="2400" dirty="0">
                  <a:gradFill>
                    <a:gsLst>
                      <a:gs pos="2917">
                        <a:schemeClr val="tx1"/>
                      </a:gs>
                      <a:gs pos="30000">
                        <a:schemeClr val="tx1"/>
                      </a:gs>
                    </a:gsLst>
                    <a:lin ang="5400000" scaled="0"/>
                  </a:gradFill>
                </a:rPr>
                <a:t>AZURE IoT </a:t>
              </a:r>
              <a:r>
                <a:rPr lang="sv-SE" sz="2400" dirty="0" err="1">
                  <a:gradFill>
                    <a:gsLst>
                      <a:gs pos="2917">
                        <a:schemeClr val="tx1"/>
                      </a:gs>
                      <a:gs pos="30000">
                        <a:schemeClr val="tx1"/>
                      </a:gs>
                    </a:gsLst>
                    <a:lin ang="5400000" scaled="0"/>
                  </a:gradFill>
                </a:rPr>
                <a:t>Suite</a:t>
              </a:r>
              <a:endParaRPr lang="sv-SE" sz="24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65017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500"/>
                                        <p:tgtEl>
                                          <p:spTgt spid="8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8"/>
                                        </p:tgtEl>
                                        <p:attrNameLst>
                                          <p:attrName>style.visibility</p:attrName>
                                        </p:attrNameLst>
                                      </p:cBhvr>
                                      <p:to>
                                        <p:strVal val="visible"/>
                                      </p:to>
                                    </p:set>
                                    <p:animEffect transition="in" filter="fade">
                                      <p:cBhvr>
                                        <p:cTn id="26" dur="500"/>
                                        <p:tgtEl>
                                          <p:spTgt spid="6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a:t>
            </a:r>
          </a:p>
        </p:txBody>
      </p:sp>
      <p:sp>
        <p:nvSpPr>
          <p:cNvPr id="88" name="Text Placeholder 87"/>
          <p:cNvSpPr>
            <a:spLocks noGrp="1"/>
          </p:cNvSpPr>
          <p:nvPr>
            <p:ph type="body" sz="quarter" idx="10"/>
          </p:nvPr>
        </p:nvSpPr>
        <p:spPr>
          <a:xfrm>
            <a:off x="280146" y="1593198"/>
            <a:ext cx="6250543" cy="5409686"/>
          </a:xfrm>
        </p:spPr>
        <p:txBody>
          <a:bodyPr/>
          <a:lstStyle/>
          <a:p>
            <a:r>
              <a:rPr lang="en-US" sz="3200" dirty="0"/>
              <a:t>Simulated wind turbine</a:t>
            </a:r>
          </a:p>
          <a:p>
            <a:pPr lvl="1"/>
            <a:r>
              <a:rPr lang="en-US" sz="1600" dirty="0"/>
              <a:t>Emits telemetry every second</a:t>
            </a:r>
          </a:p>
          <a:p>
            <a:pPr lvl="1"/>
            <a:r>
              <a:rPr lang="en-US" sz="1600" dirty="0"/>
              <a:t>State machine (Starting </a:t>
            </a:r>
            <a:r>
              <a:rPr lang="en-US" sz="1600" dirty="0">
                <a:sym typeface="Wingdings" panose="05000000000000000000" pitchFamily="2" charset="2"/>
              </a:rPr>
              <a:t> Started  Stopping  Stopped)</a:t>
            </a:r>
            <a:endParaRPr lang="en-US" sz="1600" dirty="0"/>
          </a:p>
          <a:p>
            <a:r>
              <a:rPr lang="en-US" sz="3200" dirty="0">
                <a:solidFill>
                  <a:schemeClr val="accent4"/>
                </a:solidFill>
              </a:rPr>
              <a:t>Provision device</a:t>
            </a:r>
          </a:p>
          <a:p>
            <a:pPr lvl="1"/>
            <a:r>
              <a:rPr lang="en-US" sz="1600" dirty="0"/>
              <a:t>Device registry to query devices and track provisioning</a:t>
            </a:r>
          </a:p>
          <a:p>
            <a:pPr lvl="1"/>
            <a:r>
              <a:rPr lang="en-US" sz="1600" dirty="0"/>
              <a:t>Device identity and key stored in IoT hub</a:t>
            </a:r>
          </a:p>
          <a:p>
            <a:r>
              <a:rPr lang="en-US" sz="3200" dirty="0">
                <a:solidFill>
                  <a:schemeClr val="accent5"/>
                </a:solidFill>
              </a:rPr>
              <a:t>Device emits telemetry</a:t>
            </a:r>
          </a:p>
          <a:p>
            <a:pPr lvl="1"/>
            <a:r>
              <a:rPr lang="en-US" sz="1600" dirty="0"/>
              <a:t>Event processor receives telemetry and updates portal visualization</a:t>
            </a:r>
          </a:p>
          <a:p>
            <a:r>
              <a:rPr lang="en-US" sz="3200" dirty="0">
                <a:solidFill>
                  <a:schemeClr val="accent6"/>
                </a:solidFill>
              </a:rPr>
              <a:t>Send commands</a:t>
            </a:r>
          </a:p>
          <a:p>
            <a:pPr lvl="1"/>
            <a:r>
              <a:rPr lang="en-US" sz="1600" dirty="0"/>
              <a:t>Portal sends commands to devices</a:t>
            </a:r>
          </a:p>
          <a:p>
            <a:pPr lvl="1"/>
            <a:r>
              <a:rPr lang="en-US" sz="1600" dirty="0"/>
              <a:t>Command lifecycle is stored in device registry</a:t>
            </a:r>
          </a:p>
        </p:txBody>
      </p:sp>
      <p:grpSp>
        <p:nvGrpSpPr>
          <p:cNvPr id="3" name="IoT Hub"/>
          <p:cNvGrpSpPr/>
          <p:nvPr/>
        </p:nvGrpSpPr>
        <p:grpSpPr>
          <a:xfrm>
            <a:off x="7154069" y="1991540"/>
            <a:ext cx="3121330" cy="3667107"/>
            <a:chOff x="7154069" y="1991540"/>
            <a:chExt cx="3121330" cy="3667107"/>
          </a:xfrm>
        </p:grpSpPr>
        <p:sp>
          <p:nvSpPr>
            <p:cNvPr id="35" name="IoT Hub"/>
            <p:cNvSpPr/>
            <p:nvPr/>
          </p:nvSpPr>
          <p:spPr bwMode="auto">
            <a:xfrm>
              <a:off x="7154069" y="1991540"/>
              <a:ext cx="3121330" cy="366710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IoT Hub</a:t>
              </a:r>
            </a:p>
          </p:txBody>
        </p:sp>
        <p:grpSp>
          <p:nvGrpSpPr>
            <p:cNvPr id="36" name="Device … 1"/>
            <p:cNvGrpSpPr/>
            <p:nvPr/>
          </p:nvGrpSpPr>
          <p:grpSpPr>
            <a:xfrm>
              <a:off x="7285441" y="2540096"/>
              <a:ext cx="1371391" cy="1554243"/>
              <a:chOff x="1829165" y="3680140"/>
              <a:chExt cx="1371585" cy="1554464"/>
            </a:xfrm>
          </p:grpSpPr>
          <p:sp>
            <p:nvSpPr>
              <p:cNvPr id="37" name="Rectangle 36"/>
              <p:cNvSpPr/>
              <p:nvPr/>
            </p:nvSpPr>
            <p:spPr bwMode="auto">
              <a:xfrm>
                <a:off x="1829165" y="3680140"/>
                <a:ext cx="1371585" cy="1554464"/>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id</a:t>
                </a:r>
              </a:p>
            </p:txBody>
          </p:sp>
          <p:sp>
            <p:nvSpPr>
              <p:cNvPr id="39" name="Rectangle 38"/>
              <p:cNvSpPr/>
              <p:nvPr/>
            </p:nvSpPr>
            <p:spPr bwMode="auto">
              <a:xfrm>
                <a:off x="2012042" y="4329847"/>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2D queu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endpoint</a:t>
                </a:r>
              </a:p>
            </p:txBody>
          </p:sp>
          <p:sp>
            <p:nvSpPr>
              <p:cNvPr id="40" name="Rectangle 39"/>
              <p:cNvSpPr/>
              <p:nvPr/>
            </p:nvSpPr>
            <p:spPr bwMode="auto">
              <a:xfrm>
                <a:off x="2012041" y="3781213"/>
                <a:ext cx="1005829" cy="457195"/>
              </a:xfrm>
              <a:prstGeom prst="rect">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D2C send endpoint</a:t>
                </a:r>
              </a:p>
            </p:txBody>
          </p:sp>
        </p:grpSp>
        <p:sp>
          <p:nvSpPr>
            <p:cNvPr id="41" name="Device … 2"/>
            <p:cNvSpPr/>
            <p:nvPr/>
          </p:nvSpPr>
          <p:spPr bwMode="auto">
            <a:xfrm>
              <a:off x="7285441" y="427719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2" name="Device …3"/>
            <p:cNvSpPr/>
            <p:nvPr/>
          </p:nvSpPr>
          <p:spPr bwMode="auto">
            <a:xfrm>
              <a:off x="7285441" y="4759387"/>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3" name="Device …4"/>
            <p:cNvSpPr/>
            <p:nvPr/>
          </p:nvSpPr>
          <p:spPr bwMode="auto">
            <a:xfrm>
              <a:off x="7285438" y="5200451"/>
              <a:ext cx="1371391" cy="36570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a:t>
              </a:r>
            </a:p>
          </p:txBody>
        </p:sp>
        <p:sp>
          <p:nvSpPr>
            <p:cNvPr id="44" name="D2C receive endpoint"/>
            <p:cNvSpPr/>
            <p:nvPr/>
          </p:nvSpPr>
          <p:spPr bwMode="auto">
            <a:xfrm>
              <a:off x="8760566" y="2529309"/>
              <a:ext cx="1371391" cy="85567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2C receive endpoint</a:t>
              </a:r>
            </a:p>
          </p:txBody>
        </p:sp>
        <p:sp>
          <p:nvSpPr>
            <p:cNvPr id="45" name="C2D send endpoint"/>
            <p:cNvSpPr/>
            <p:nvPr/>
          </p:nvSpPr>
          <p:spPr bwMode="auto">
            <a:xfrm>
              <a:off x="8760566" y="3443568"/>
              <a:ext cx="1371391" cy="593382"/>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C2D send endpoint</a:t>
              </a:r>
            </a:p>
          </p:txBody>
        </p:sp>
        <p:sp>
          <p:nvSpPr>
            <p:cNvPr id="48" name="IoT Hub management"/>
            <p:cNvSpPr/>
            <p:nvPr/>
          </p:nvSpPr>
          <p:spPr bwMode="auto">
            <a:xfrm>
              <a:off x="8760563" y="4840246"/>
              <a:ext cx="1371391" cy="72591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IoT Hub management</a:t>
              </a:r>
            </a:p>
          </p:txBody>
        </p:sp>
        <p:grpSp>
          <p:nvGrpSpPr>
            <p:cNvPr id="49" name="Device … 2"/>
            <p:cNvGrpSpPr/>
            <p:nvPr/>
          </p:nvGrpSpPr>
          <p:grpSpPr>
            <a:xfrm>
              <a:off x="8333877" y="4302271"/>
              <a:ext cx="190516" cy="315544"/>
              <a:chOff x="4593735" y="4663834"/>
              <a:chExt cx="152594" cy="252735"/>
            </a:xfrm>
          </p:grpSpPr>
          <p:sp>
            <p:nvSpPr>
              <p:cNvPr id="50" name="Freeform 13"/>
              <p:cNvSpPr>
                <a:spLocks noEditPoints="1"/>
              </p:cNvSpPr>
              <p:nvPr/>
            </p:nvSpPr>
            <p:spPr bwMode="auto">
              <a:xfrm>
                <a:off x="4593735" y="4663834"/>
                <a:ext cx="128641" cy="86722"/>
              </a:xfrm>
              <a:prstGeom prst="fram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51" name="Freeform 15"/>
              <p:cNvSpPr>
                <a:spLocks/>
              </p:cNvSpPr>
              <p:nvPr/>
            </p:nvSpPr>
            <p:spPr bwMode="auto">
              <a:xfrm>
                <a:off x="4593735" y="4682953"/>
                <a:ext cx="152594" cy="233616"/>
              </a:xfrm>
              <a:custGeom>
                <a:avLst/>
                <a:gdLst/>
                <a:ahLst/>
                <a:cxnLst/>
                <a:rect l="l" t="t" r="r" b="b"/>
                <a:pathLst>
                  <a:path w="299642" h="458740">
                    <a:moveTo>
                      <a:pt x="77921" y="146916"/>
                    </a:moveTo>
                    <a:lnTo>
                      <a:pt x="185736" y="146916"/>
                    </a:lnTo>
                    <a:lnTo>
                      <a:pt x="185736" y="440039"/>
                    </a:lnTo>
                    <a:lnTo>
                      <a:pt x="252606" y="440039"/>
                    </a:lnTo>
                    <a:lnTo>
                      <a:pt x="252606" y="458740"/>
                    </a:lnTo>
                    <a:lnTo>
                      <a:pt x="0" y="458740"/>
                    </a:lnTo>
                    <a:lnTo>
                      <a:pt x="0" y="440039"/>
                    </a:lnTo>
                    <a:lnTo>
                      <a:pt x="77921" y="440039"/>
                    </a:lnTo>
                    <a:close/>
                    <a:moveTo>
                      <a:pt x="266065" y="0"/>
                    </a:moveTo>
                    <a:lnTo>
                      <a:pt x="299642" y="0"/>
                    </a:lnTo>
                    <a:lnTo>
                      <a:pt x="299642" y="96621"/>
                    </a:lnTo>
                    <a:lnTo>
                      <a:pt x="266065" y="96621"/>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2" name="Device …4"/>
            <p:cNvGrpSpPr/>
            <p:nvPr/>
          </p:nvGrpSpPr>
          <p:grpSpPr>
            <a:xfrm>
              <a:off x="8161801" y="5215651"/>
              <a:ext cx="407905" cy="337660"/>
              <a:chOff x="517516" y="3589298"/>
              <a:chExt cx="1770439" cy="1465554"/>
            </a:xfrm>
          </p:grpSpPr>
          <p:sp>
            <p:nvSpPr>
              <p:cNvPr id="53" name="Freeform 28"/>
              <p:cNvSpPr>
                <a:spLocks noEditPoints="1"/>
              </p:cNvSpPr>
              <p:nvPr/>
            </p:nvSpPr>
            <p:spPr bwMode="auto">
              <a:xfrm>
                <a:off x="517516" y="3774191"/>
                <a:ext cx="1770439" cy="1280661"/>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54" name="Oval 29"/>
              <p:cNvSpPr>
                <a:spLocks noChangeArrowheads="1"/>
              </p:cNvSpPr>
              <p:nvPr/>
            </p:nvSpPr>
            <p:spPr bwMode="auto">
              <a:xfrm>
                <a:off x="1204260" y="3589298"/>
                <a:ext cx="241493" cy="241493"/>
              </a:xfrm>
              <a:prstGeom prst="ellipse">
                <a:avLst/>
              </a:prstGeom>
              <a:solidFill>
                <a:srgbClr val="86BE0E"/>
              </a:solidFill>
              <a:ln>
                <a:noFill/>
              </a:ln>
              <a:extLst/>
            </p:spPr>
            <p:txBody>
              <a:bodyPr vert="horz" wrap="square" lIns="91440" tIns="45720" rIns="91440" bIns="45720" numCol="1" anchor="t" anchorCtr="0" compatLnSpc="1">
                <a:prstTxWarp prst="textNoShape">
                  <a:avLst/>
                </a:prstTxWarp>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Segoe UI"/>
                  <a:ea typeface="+mn-ea"/>
                  <a:cs typeface="+mn-cs"/>
                </a:endParaRPr>
              </a:p>
            </p:txBody>
          </p:sp>
          <p:sp>
            <p:nvSpPr>
              <p:cNvPr id="55" name="Round Same Side Corner Rectangle 43"/>
              <p:cNvSpPr/>
              <p:nvPr/>
            </p:nvSpPr>
            <p:spPr bwMode="auto">
              <a:xfrm>
                <a:off x="1205445" y="3840498"/>
                <a:ext cx="248989" cy="461948"/>
              </a:xfrm>
              <a:custGeom>
                <a:avLst/>
                <a:gdLst>
                  <a:gd name="connsiteX0" fmla="*/ 119561 w 239122"/>
                  <a:gd name="connsiteY0" fmla="*/ 0 h 461948"/>
                  <a:gd name="connsiteX1" fmla="*/ 119561 w 239122"/>
                  <a:gd name="connsiteY1" fmla="*/ 0 h 461948"/>
                  <a:gd name="connsiteX2" fmla="*/ 239122 w 239122"/>
                  <a:gd name="connsiteY2" fmla="*/ 119561 h 461948"/>
                  <a:gd name="connsiteX3" fmla="*/ 239122 w 239122"/>
                  <a:gd name="connsiteY3" fmla="*/ 461948 h 461948"/>
                  <a:gd name="connsiteX4" fmla="*/ 239122 w 239122"/>
                  <a:gd name="connsiteY4" fmla="*/ 461948 h 461948"/>
                  <a:gd name="connsiteX5" fmla="*/ 0 w 239122"/>
                  <a:gd name="connsiteY5" fmla="*/ 461948 h 461948"/>
                  <a:gd name="connsiteX6" fmla="*/ 0 w 239122"/>
                  <a:gd name="connsiteY6" fmla="*/ 461948 h 461948"/>
                  <a:gd name="connsiteX7" fmla="*/ 0 w 239122"/>
                  <a:gd name="connsiteY7" fmla="*/ 119561 h 461948"/>
                  <a:gd name="connsiteX8" fmla="*/ 119561 w 239122"/>
                  <a:gd name="connsiteY8" fmla="*/ 0 h 461948"/>
                  <a:gd name="connsiteX0" fmla="*/ 119561 w 248989"/>
                  <a:gd name="connsiteY0" fmla="*/ 0 h 461948"/>
                  <a:gd name="connsiteX1" fmla="*/ 119561 w 248989"/>
                  <a:gd name="connsiteY1" fmla="*/ 0 h 461948"/>
                  <a:gd name="connsiteX2" fmla="*/ 239122 w 248989"/>
                  <a:gd name="connsiteY2" fmla="*/ 119561 h 461948"/>
                  <a:gd name="connsiteX3" fmla="*/ 239122 w 248989"/>
                  <a:gd name="connsiteY3" fmla="*/ 461948 h 461948"/>
                  <a:gd name="connsiteX4" fmla="*/ 248989 w 248989"/>
                  <a:gd name="connsiteY4" fmla="*/ 211969 h 461948"/>
                  <a:gd name="connsiteX5" fmla="*/ 0 w 248989"/>
                  <a:gd name="connsiteY5" fmla="*/ 461948 h 461948"/>
                  <a:gd name="connsiteX6" fmla="*/ 0 w 248989"/>
                  <a:gd name="connsiteY6" fmla="*/ 461948 h 461948"/>
                  <a:gd name="connsiteX7" fmla="*/ 0 w 248989"/>
                  <a:gd name="connsiteY7" fmla="*/ 119561 h 461948"/>
                  <a:gd name="connsiteX8" fmla="*/ 119561 w 248989"/>
                  <a:gd name="connsiteY8" fmla="*/ 0 h 46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89" h="461948">
                    <a:moveTo>
                      <a:pt x="119561" y="0"/>
                    </a:moveTo>
                    <a:lnTo>
                      <a:pt x="119561" y="0"/>
                    </a:lnTo>
                    <a:cubicBezTo>
                      <a:pt x="185593" y="0"/>
                      <a:pt x="239122" y="53529"/>
                      <a:pt x="239122" y="119561"/>
                    </a:cubicBezTo>
                    <a:lnTo>
                      <a:pt x="239122" y="461948"/>
                    </a:lnTo>
                    <a:lnTo>
                      <a:pt x="248989" y="211969"/>
                    </a:lnTo>
                    <a:lnTo>
                      <a:pt x="0" y="461948"/>
                    </a:lnTo>
                    <a:lnTo>
                      <a:pt x="0" y="461948"/>
                    </a:lnTo>
                    <a:lnTo>
                      <a:pt x="0" y="119561"/>
                    </a:lnTo>
                    <a:cubicBezTo>
                      <a:pt x="0" y="53529"/>
                      <a:pt x="53529" y="0"/>
                      <a:pt x="119561" y="0"/>
                    </a:cubicBezTo>
                    <a:close/>
                  </a:path>
                </a:pathLst>
              </a:cu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Device …3"/>
            <p:cNvGrpSpPr/>
            <p:nvPr/>
          </p:nvGrpSpPr>
          <p:grpSpPr>
            <a:xfrm>
              <a:off x="8200676" y="4822464"/>
              <a:ext cx="339700" cy="204635"/>
              <a:chOff x="1783977" y="3232718"/>
              <a:chExt cx="423736" cy="255258"/>
            </a:xfrm>
          </p:grpSpPr>
          <p:sp>
            <p:nvSpPr>
              <p:cNvPr id="58" name="SMOKE / FIRE ALARMS"/>
              <p:cNvSpPr>
                <a:spLocks noChangeAspect="1"/>
              </p:cNvSpPr>
              <p:nvPr/>
            </p:nvSpPr>
            <p:spPr bwMode="auto">
              <a:xfrm>
                <a:off x="1783977" y="3232718"/>
                <a:ext cx="423736" cy="255258"/>
              </a:xfrm>
              <a:custGeom>
                <a:avLst/>
                <a:gdLst/>
                <a:ahLst/>
                <a:cxnLst/>
                <a:rect l="l" t="t" r="r" b="b"/>
                <a:pathLst>
                  <a:path w="731007"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521400" y="8749"/>
                    </a:moveTo>
                    <a:cubicBezTo>
                      <a:pt x="595332" y="8749"/>
                      <a:pt x="655265" y="57027"/>
                      <a:pt x="655265" y="116580"/>
                    </a:cubicBezTo>
                    <a:lnTo>
                      <a:pt x="646490" y="151591"/>
                    </a:lnTo>
                    <a:cubicBezTo>
                      <a:pt x="693997" y="154874"/>
                      <a:pt x="731007" y="195099"/>
                      <a:pt x="731007" y="244028"/>
                    </a:cubicBezTo>
                    <a:cubicBezTo>
                      <a:pt x="731007" y="296103"/>
                      <a:pt x="689084" y="338319"/>
                      <a:pt x="637370" y="338319"/>
                    </a:cubicBezTo>
                    <a:lnTo>
                      <a:pt x="600991" y="330923"/>
                    </a:lnTo>
                    <a:cubicBezTo>
                      <a:pt x="579942" y="358883"/>
                      <a:pt x="539786" y="376601"/>
                      <a:pt x="494015" y="376601"/>
                    </a:cubicBezTo>
                    <a:cubicBezTo>
                      <a:pt x="456012" y="376601"/>
                      <a:pt x="421879" y="364386"/>
                      <a:pt x="399142" y="344154"/>
                    </a:cubicBezTo>
                    <a:cubicBezTo>
                      <a:pt x="376220" y="358135"/>
                      <a:pt x="348984" y="365325"/>
                      <a:pt x="319939" y="365538"/>
                    </a:cubicBezTo>
                    <a:cubicBezTo>
                      <a:pt x="352906" y="329186"/>
                      <a:pt x="370353" y="277720"/>
                      <a:pt x="362255" y="233156"/>
                    </a:cubicBezTo>
                    <a:cubicBezTo>
                      <a:pt x="335238" y="158276"/>
                      <a:pt x="277572" y="118421"/>
                      <a:pt x="255960" y="50217"/>
                    </a:cubicBezTo>
                    <a:cubicBezTo>
                      <a:pt x="273900" y="42656"/>
                      <a:pt x="293757" y="39479"/>
                      <a:pt x="314429" y="39479"/>
                    </a:cubicBezTo>
                    <a:cubicBezTo>
                      <a:pt x="348346" y="39479"/>
                      <a:pt x="380066" y="48032"/>
                      <a:pt x="405728" y="65440"/>
                    </a:cubicBezTo>
                    <a:cubicBezTo>
                      <a:pt x="427045" y="31216"/>
                      <a:pt x="470965" y="8749"/>
                      <a:pt x="521400" y="8749"/>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59" name="SMOKE / FIRE ALARMS"/>
              <p:cNvSpPr>
                <a:spLocks noChangeAspect="1"/>
              </p:cNvSpPr>
              <p:nvPr/>
            </p:nvSpPr>
            <p:spPr bwMode="auto">
              <a:xfrm>
                <a:off x="1783977" y="3232718"/>
                <a:ext cx="176056" cy="255258"/>
              </a:xfrm>
              <a:custGeom>
                <a:avLst/>
                <a:gdLst>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314429 w 731007"/>
                  <a:gd name="connsiteY18" fmla="*/ 39479 h 440357"/>
                  <a:gd name="connsiteX19" fmla="*/ 405728 w 731007"/>
                  <a:gd name="connsiteY19" fmla="*/ 65440 h 440357"/>
                  <a:gd name="connsiteX20" fmla="*/ 521400 w 731007"/>
                  <a:gd name="connsiteY20" fmla="*/ 8749 h 440357"/>
                  <a:gd name="connsiteX21" fmla="*/ 196781 w 731007"/>
                  <a:gd name="connsiteY21" fmla="*/ 0 h 440357"/>
                  <a:gd name="connsiteX22" fmla="*/ 301893 w 731007"/>
                  <a:gd name="connsiteY22" fmla="*/ 244170 h 440357"/>
                  <a:gd name="connsiteX23" fmla="*/ 187524 w 731007"/>
                  <a:gd name="connsiteY23" fmla="*/ 417106 h 440357"/>
                  <a:gd name="connsiteX24" fmla="*/ 141582 w 731007"/>
                  <a:gd name="connsiteY24" fmla="*/ 440357 h 440357"/>
                  <a:gd name="connsiteX25" fmla="*/ 5105 w 731007"/>
                  <a:gd name="connsiteY25" fmla="*/ 283042 h 440357"/>
                  <a:gd name="connsiteX26" fmla="*/ 196781 w 731007"/>
                  <a:gd name="connsiteY26"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405728 w 731007"/>
                  <a:gd name="connsiteY18" fmla="*/ 65440 h 440357"/>
                  <a:gd name="connsiteX19" fmla="*/ 521400 w 731007"/>
                  <a:gd name="connsiteY19" fmla="*/ 8749 h 440357"/>
                  <a:gd name="connsiteX20" fmla="*/ 196781 w 731007"/>
                  <a:gd name="connsiteY20" fmla="*/ 0 h 440357"/>
                  <a:gd name="connsiteX21" fmla="*/ 301893 w 731007"/>
                  <a:gd name="connsiteY21" fmla="*/ 244170 h 440357"/>
                  <a:gd name="connsiteX22" fmla="*/ 187524 w 731007"/>
                  <a:gd name="connsiteY22" fmla="*/ 417106 h 440357"/>
                  <a:gd name="connsiteX23" fmla="*/ 141582 w 731007"/>
                  <a:gd name="connsiteY23" fmla="*/ 440357 h 440357"/>
                  <a:gd name="connsiteX24" fmla="*/ 5105 w 731007"/>
                  <a:gd name="connsiteY24" fmla="*/ 283042 h 440357"/>
                  <a:gd name="connsiteX25" fmla="*/ 196781 w 731007"/>
                  <a:gd name="connsiteY25"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19939 w 731007"/>
                  <a:gd name="connsiteY16" fmla="*/ 365538 h 440357"/>
                  <a:gd name="connsiteX17" fmla="*/ 362255 w 731007"/>
                  <a:gd name="connsiteY17" fmla="*/ 233156 h 440357"/>
                  <a:gd name="connsiteX18" fmla="*/ 521400 w 731007"/>
                  <a:gd name="connsiteY18" fmla="*/ 8749 h 440357"/>
                  <a:gd name="connsiteX19" fmla="*/ 196781 w 731007"/>
                  <a:gd name="connsiteY19" fmla="*/ 0 h 440357"/>
                  <a:gd name="connsiteX20" fmla="*/ 301893 w 731007"/>
                  <a:gd name="connsiteY20" fmla="*/ 244170 h 440357"/>
                  <a:gd name="connsiteX21" fmla="*/ 187524 w 731007"/>
                  <a:gd name="connsiteY21" fmla="*/ 417106 h 440357"/>
                  <a:gd name="connsiteX22" fmla="*/ 141582 w 731007"/>
                  <a:gd name="connsiteY22" fmla="*/ 440357 h 440357"/>
                  <a:gd name="connsiteX23" fmla="*/ 5105 w 731007"/>
                  <a:gd name="connsiteY23" fmla="*/ 283042 h 440357"/>
                  <a:gd name="connsiteX24" fmla="*/ 196781 w 731007"/>
                  <a:gd name="connsiteY24"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362255 w 731007"/>
                  <a:gd name="connsiteY16" fmla="*/ 233156 h 440357"/>
                  <a:gd name="connsiteX17" fmla="*/ 521400 w 731007"/>
                  <a:gd name="connsiteY17" fmla="*/ 8749 h 440357"/>
                  <a:gd name="connsiteX18" fmla="*/ 196781 w 731007"/>
                  <a:gd name="connsiteY18" fmla="*/ 0 h 440357"/>
                  <a:gd name="connsiteX19" fmla="*/ 301893 w 731007"/>
                  <a:gd name="connsiteY19" fmla="*/ 244170 h 440357"/>
                  <a:gd name="connsiteX20" fmla="*/ 187524 w 731007"/>
                  <a:gd name="connsiteY20" fmla="*/ 417106 h 440357"/>
                  <a:gd name="connsiteX21" fmla="*/ 141582 w 731007"/>
                  <a:gd name="connsiteY21" fmla="*/ 440357 h 440357"/>
                  <a:gd name="connsiteX22" fmla="*/ 5105 w 731007"/>
                  <a:gd name="connsiteY22" fmla="*/ 283042 h 440357"/>
                  <a:gd name="connsiteX23" fmla="*/ 196781 w 731007"/>
                  <a:gd name="connsiteY23"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399142 w 731007"/>
                  <a:gd name="connsiteY15" fmla="*/ 344154 h 440357"/>
                  <a:gd name="connsiteX16" fmla="*/ 521400 w 731007"/>
                  <a:gd name="connsiteY16" fmla="*/ 8749 h 440357"/>
                  <a:gd name="connsiteX17" fmla="*/ 196781 w 731007"/>
                  <a:gd name="connsiteY17" fmla="*/ 0 h 440357"/>
                  <a:gd name="connsiteX18" fmla="*/ 301893 w 731007"/>
                  <a:gd name="connsiteY18" fmla="*/ 244170 h 440357"/>
                  <a:gd name="connsiteX19" fmla="*/ 187524 w 731007"/>
                  <a:gd name="connsiteY19" fmla="*/ 417106 h 440357"/>
                  <a:gd name="connsiteX20" fmla="*/ 141582 w 731007"/>
                  <a:gd name="connsiteY20" fmla="*/ 440357 h 440357"/>
                  <a:gd name="connsiteX21" fmla="*/ 5105 w 731007"/>
                  <a:gd name="connsiteY21" fmla="*/ 283042 h 440357"/>
                  <a:gd name="connsiteX22" fmla="*/ 196781 w 731007"/>
                  <a:gd name="connsiteY22"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521400 w 731007"/>
                  <a:gd name="connsiteY8" fmla="*/ 8749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521400 w 731007"/>
                  <a:gd name="connsiteY15" fmla="*/ 8749 h 440357"/>
                  <a:gd name="connsiteX16" fmla="*/ 196781 w 731007"/>
                  <a:gd name="connsiteY16" fmla="*/ 0 h 440357"/>
                  <a:gd name="connsiteX17" fmla="*/ 301893 w 731007"/>
                  <a:gd name="connsiteY17" fmla="*/ 244170 h 440357"/>
                  <a:gd name="connsiteX18" fmla="*/ 187524 w 731007"/>
                  <a:gd name="connsiteY18" fmla="*/ 417106 h 440357"/>
                  <a:gd name="connsiteX19" fmla="*/ 141582 w 731007"/>
                  <a:gd name="connsiteY19" fmla="*/ 440357 h 440357"/>
                  <a:gd name="connsiteX20" fmla="*/ 5105 w 731007"/>
                  <a:gd name="connsiteY20" fmla="*/ 283042 h 440357"/>
                  <a:gd name="connsiteX21" fmla="*/ 196781 w 731007"/>
                  <a:gd name="connsiteY21"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55265 w 731007"/>
                  <a:gd name="connsiteY9" fmla="*/ 116580 h 440357"/>
                  <a:gd name="connsiteX10" fmla="*/ 646490 w 731007"/>
                  <a:gd name="connsiteY10" fmla="*/ 151591 h 440357"/>
                  <a:gd name="connsiteX11" fmla="*/ 731007 w 731007"/>
                  <a:gd name="connsiteY11" fmla="*/ 244028 h 440357"/>
                  <a:gd name="connsiteX12" fmla="*/ 637370 w 731007"/>
                  <a:gd name="connsiteY12" fmla="*/ 338319 h 440357"/>
                  <a:gd name="connsiteX13" fmla="*/ 600991 w 731007"/>
                  <a:gd name="connsiteY13" fmla="*/ 330923 h 440357"/>
                  <a:gd name="connsiteX14" fmla="*/ 494015 w 731007"/>
                  <a:gd name="connsiteY14" fmla="*/ 376601 h 440357"/>
                  <a:gd name="connsiteX15" fmla="*/ 196781 w 731007"/>
                  <a:gd name="connsiteY15" fmla="*/ 0 h 440357"/>
                  <a:gd name="connsiteX16" fmla="*/ 301893 w 731007"/>
                  <a:gd name="connsiteY16" fmla="*/ 244170 h 440357"/>
                  <a:gd name="connsiteX17" fmla="*/ 187524 w 731007"/>
                  <a:gd name="connsiteY17" fmla="*/ 417106 h 440357"/>
                  <a:gd name="connsiteX18" fmla="*/ 141582 w 731007"/>
                  <a:gd name="connsiteY18" fmla="*/ 440357 h 440357"/>
                  <a:gd name="connsiteX19" fmla="*/ 5105 w 731007"/>
                  <a:gd name="connsiteY19" fmla="*/ 283042 h 440357"/>
                  <a:gd name="connsiteX20" fmla="*/ 196781 w 731007"/>
                  <a:gd name="connsiteY20" fmla="*/ 0 h 440357"/>
                  <a:gd name="connsiteX0" fmla="*/ 160062 w 731007"/>
                  <a:gd name="connsiteY0" fmla="*/ 227454 h 440357"/>
                  <a:gd name="connsiteX1" fmla="*/ 88479 w 731007"/>
                  <a:gd name="connsiteY1" fmla="*/ 356592 h 440357"/>
                  <a:gd name="connsiteX2" fmla="*/ 153242 w 731007"/>
                  <a:gd name="connsiteY2" fmla="*/ 419027 h 440357"/>
                  <a:gd name="connsiteX3" fmla="*/ 172114 w 731007"/>
                  <a:gd name="connsiteY3" fmla="*/ 407258 h 440357"/>
                  <a:gd name="connsiteX4" fmla="*/ 215034 w 731007"/>
                  <a:gd name="connsiteY4" fmla="*/ 336843 h 440357"/>
                  <a:gd name="connsiteX5" fmla="*/ 153423 w 731007"/>
                  <a:gd name="connsiteY5" fmla="*/ 272459 h 440357"/>
                  <a:gd name="connsiteX6" fmla="*/ 165412 w 731007"/>
                  <a:gd name="connsiteY6" fmla="*/ 257518 h 440357"/>
                  <a:gd name="connsiteX7" fmla="*/ 160062 w 731007"/>
                  <a:gd name="connsiteY7" fmla="*/ 227454 h 440357"/>
                  <a:gd name="connsiteX8" fmla="*/ 494015 w 731007"/>
                  <a:gd name="connsiteY8" fmla="*/ 376601 h 440357"/>
                  <a:gd name="connsiteX9" fmla="*/ 646490 w 731007"/>
                  <a:gd name="connsiteY9" fmla="*/ 151591 h 440357"/>
                  <a:gd name="connsiteX10" fmla="*/ 731007 w 731007"/>
                  <a:gd name="connsiteY10" fmla="*/ 244028 h 440357"/>
                  <a:gd name="connsiteX11" fmla="*/ 637370 w 731007"/>
                  <a:gd name="connsiteY11" fmla="*/ 338319 h 440357"/>
                  <a:gd name="connsiteX12" fmla="*/ 600991 w 731007"/>
                  <a:gd name="connsiteY12" fmla="*/ 330923 h 440357"/>
                  <a:gd name="connsiteX13" fmla="*/ 494015 w 731007"/>
                  <a:gd name="connsiteY13" fmla="*/ 376601 h 440357"/>
                  <a:gd name="connsiteX14" fmla="*/ 196781 w 731007"/>
                  <a:gd name="connsiteY14" fmla="*/ 0 h 440357"/>
                  <a:gd name="connsiteX15" fmla="*/ 301893 w 731007"/>
                  <a:gd name="connsiteY15" fmla="*/ 244170 h 440357"/>
                  <a:gd name="connsiteX16" fmla="*/ 187524 w 731007"/>
                  <a:gd name="connsiteY16" fmla="*/ 417106 h 440357"/>
                  <a:gd name="connsiteX17" fmla="*/ 141582 w 731007"/>
                  <a:gd name="connsiteY17" fmla="*/ 440357 h 440357"/>
                  <a:gd name="connsiteX18" fmla="*/ 5105 w 731007"/>
                  <a:gd name="connsiteY18" fmla="*/ 283042 h 440357"/>
                  <a:gd name="connsiteX19" fmla="*/ 196781 w 731007"/>
                  <a:gd name="connsiteY19" fmla="*/ 0 h 440357"/>
                  <a:gd name="connsiteX0" fmla="*/ 160062 w 656493"/>
                  <a:gd name="connsiteY0" fmla="*/ 227454 h 440357"/>
                  <a:gd name="connsiteX1" fmla="*/ 88479 w 656493"/>
                  <a:gd name="connsiteY1" fmla="*/ 356592 h 440357"/>
                  <a:gd name="connsiteX2" fmla="*/ 153242 w 656493"/>
                  <a:gd name="connsiteY2" fmla="*/ 419027 h 440357"/>
                  <a:gd name="connsiteX3" fmla="*/ 172114 w 656493"/>
                  <a:gd name="connsiteY3" fmla="*/ 407258 h 440357"/>
                  <a:gd name="connsiteX4" fmla="*/ 215034 w 656493"/>
                  <a:gd name="connsiteY4" fmla="*/ 336843 h 440357"/>
                  <a:gd name="connsiteX5" fmla="*/ 153423 w 656493"/>
                  <a:gd name="connsiteY5" fmla="*/ 272459 h 440357"/>
                  <a:gd name="connsiteX6" fmla="*/ 165412 w 656493"/>
                  <a:gd name="connsiteY6" fmla="*/ 257518 h 440357"/>
                  <a:gd name="connsiteX7" fmla="*/ 160062 w 656493"/>
                  <a:gd name="connsiteY7" fmla="*/ 227454 h 440357"/>
                  <a:gd name="connsiteX8" fmla="*/ 494015 w 656493"/>
                  <a:gd name="connsiteY8" fmla="*/ 376601 h 440357"/>
                  <a:gd name="connsiteX9" fmla="*/ 646490 w 656493"/>
                  <a:gd name="connsiteY9" fmla="*/ 151591 h 440357"/>
                  <a:gd name="connsiteX10" fmla="*/ 637370 w 656493"/>
                  <a:gd name="connsiteY10" fmla="*/ 338319 h 440357"/>
                  <a:gd name="connsiteX11" fmla="*/ 600991 w 656493"/>
                  <a:gd name="connsiteY11" fmla="*/ 330923 h 440357"/>
                  <a:gd name="connsiteX12" fmla="*/ 494015 w 656493"/>
                  <a:gd name="connsiteY12" fmla="*/ 376601 h 440357"/>
                  <a:gd name="connsiteX13" fmla="*/ 196781 w 656493"/>
                  <a:gd name="connsiteY13" fmla="*/ 0 h 440357"/>
                  <a:gd name="connsiteX14" fmla="*/ 301893 w 656493"/>
                  <a:gd name="connsiteY14" fmla="*/ 244170 h 440357"/>
                  <a:gd name="connsiteX15" fmla="*/ 187524 w 656493"/>
                  <a:gd name="connsiteY15" fmla="*/ 417106 h 440357"/>
                  <a:gd name="connsiteX16" fmla="*/ 141582 w 656493"/>
                  <a:gd name="connsiteY16" fmla="*/ 440357 h 440357"/>
                  <a:gd name="connsiteX17" fmla="*/ 5105 w 656493"/>
                  <a:gd name="connsiteY17" fmla="*/ 283042 h 440357"/>
                  <a:gd name="connsiteX18" fmla="*/ 196781 w 656493"/>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00991 w 637370"/>
                  <a:gd name="connsiteY10" fmla="*/ 330923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600991 w 637370"/>
                  <a:gd name="connsiteY11" fmla="*/ 330923 h 440357"/>
                  <a:gd name="connsiteX12" fmla="*/ 494015 w 637370"/>
                  <a:gd name="connsiteY12" fmla="*/ 376601 h 440357"/>
                  <a:gd name="connsiteX13" fmla="*/ 196781 w 637370"/>
                  <a:gd name="connsiteY13" fmla="*/ 0 h 440357"/>
                  <a:gd name="connsiteX14" fmla="*/ 301893 w 637370"/>
                  <a:gd name="connsiteY14" fmla="*/ 244170 h 440357"/>
                  <a:gd name="connsiteX15" fmla="*/ 187524 w 637370"/>
                  <a:gd name="connsiteY15" fmla="*/ 417106 h 440357"/>
                  <a:gd name="connsiteX16" fmla="*/ 141582 w 637370"/>
                  <a:gd name="connsiteY16" fmla="*/ 440357 h 440357"/>
                  <a:gd name="connsiteX17" fmla="*/ 5105 w 637370"/>
                  <a:gd name="connsiteY17" fmla="*/ 283042 h 440357"/>
                  <a:gd name="connsiteX18" fmla="*/ 196781 w 637370"/>
                  <a:gd name="connsiteY18"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636062 w 637370"/>
                  <a:gd name="connsiteY10" fmla="*/ 329796 h 440357"/>
                  <a:gd name="connsiteX11" fmla="*/ 494015 w 637370"/>
                  <a:gd name="connsiteY11" fmla="*/ 376601 h 440357"/>
                  <a:gd name="connsiteX12" fmla="*/ 196781 w 637370"/>
                  <a:gd name="connsiteY12" fmla="*/ 0 h 440357"/>
                  <a:gd name="connsiteX13" fmla="*/ 301893 w 637370"/>
                  <a:gd name="connsiteY13" fmla="*/ 244170 h 440357"/>
                  <a:gd name="connsiteX14" fmla="*/ 187524 w 637370"/>
                  <a:gd name="connsiteY14" fmla="*/ 417106 h 440357"/>
                  <a:gd name="connsiteX15" fmla="*/ 141582 w 637370"/>
                  <a:gd name="connsiteY15" fmla="*/ 440357 h 440357"/>
                  <a:gd name="connsiteX16" fmla="*/ 5105 w 637370"/>
                  <a:gd name="connsiteY16" fmla="*/ 283042 h 440357"/>
                  <a:gd name="connsiteX17" fmla="*/ 196781 w 637370"/>
                  <a:gd name="connsiteY17" fmla="*/ 0 h 440357"/>
                  <a:gd name="connsiteX0" fmla="*/ 160062 w 637370"/>
                  <a:gd name="connsiteY0" fmla="*/ 227454 h 440357"/>
                  <a:gd name="connsiteX1" fmla="*/ 88479 w 637370"/>
                  <a:gd name="connsiteY1" fmla="*/ 356592 h 440357"/>
                  <a:gd name="connsiteX2" fmla="*/ 153242 w 637370"/>
                  <a:gd name="connsiteY2" fmla="*/ 419027 h 440357"/>
                  <a:gd name="connsiteX3" fmla="*/ 172114 w 637370"/>
                  <a:gd name="connsiteY3" fmla="*/ 407258 h 440357"/>
                  <a:gd name="connsiteX4" fmla="*/ 215034 w 637370"/>
                  <a:gd name="connsiteY4" fmla="*/ 336843 h 440357"/>
                  <a:gd name="connsiteX5" fmla="*/ 153423 w 637370"/>
                  <a:gd name="connsiteY5" fmla="*/ 272459 h 440357"/>
                  <a:gd name="connsiteX6" fmla="*/ 165412 w 637370"/>
                  <a:gd name="connsiteY6" fmla="*/ 257518 h 440357"/>
                  <a:gd name="connsiteX7" fmla="*/ 160062 w 637370"/>
                  <a:gd name="connsiteY7" fmla="*/ 227454 h 440357"/>
                  <a:gd name="connsiteX8" fmla="*/ 494015 w 637370"/>
                  <a:gd name="connsiteY8" fmla="*/ 376601 h 440357"/>
                  <a:gd name="connsiteX9" fmla="*/ 637370 w 637370"/>
                  <a:gd name="connsiteY9" fmla="*/ 338319 h 440357"/>
                  <a:gd name="connsiteX10" fmla="*/ 494015 w 637370"/>
                  <a:gd name="connsiteY10" fmla="*/ 376601 h 440357"/>
                  <a:gd name="connsiteX11" fmla="*/ 196781 w 637370"/>
                  <a:gd name="connsiteY11" fmla="*/ 0 h 440357"/>
                  <a:gd name="connsiteX12" fmla="*/ 301893 w 637370"/>
                  <a:gd name="connsiteY12" fmla="*/ 244170 h 440357"/>
                  <a:gd name="connsiteX13" fmla="*/ 187524 w 637370"/>
                  <a:gd name="connsiteY13" fmla="*/ 417106 h 440357"/>
                  <a:gd name="connsiteX14" fmla="*/ 141582 w 637370"/>
                  <a:gd name="connsiteY14" fmla="*/ 440357 h 440357"/>
                  <a:gd name="connsiteX15" fmla="*/ 5105 w 637370"/>
                  <a:gd name="connsiteY15" fmla="*/ 283042 h 440357"/>
                  <a:gd name="connsiteX16" fmla="*/ 196781 w 637370"/>
                  <a:gd name="connsiteY16" fmla="*/ 0 h 440357"/>
                  <a:gd name="connsiteX0" fmla="*/ 160062 w 303723"/>
                  <a:gd name="connsiteY0" fmla="*/ 227454 h 440357"/>
                  <a:gd name="connsiteX1" fmla="*/ 88479 w 303723"/>
                  <a:gd name="connsiteY1" fmla="*/ 356592 h 440357"/>
                  <a:gd name="connsiteX2" fmla="*/ 153242 w 303723"/>
                  <a:gd name="connsiteY2" fmla="*/ 419027 h 440357"/>
                  <a:gd name="connsiteX3" fmla="*/ 172114 w 303723"/>
                  <a:gd name="connsiteY3" fmla="*/ 407258 h 440357"/>
                  <a:gd name="connsiteX4" fmla="*/ 215034 w 303723"/>
                  <a:gd name="connsiteY4" fmla="*/ 336843 h 440357"/>
                  <a:gd name="connsiteX5" fmla="*/ 153423 w 303723"/>
                  <a:gd name="connsiteY5" fmla="*/ 272459 h 440357"/>
                  <a:gd name="connsiteX6" fmla="*/ 165412 w 303723"/>
                  <a:gd name="connsiteY6" fmla="*/ 257518 h 440357"/>
                  <a:gd name="connsiteX7" fmla="*/ 160062 w 303723"/>
                  <a:gd name="connsiteY7" fmla="*/ 227454 h 440357"/>
                  <a:gd name="connsiteX8" fmla="*/ 196781 w 303723"/>
                  <a:gd name="connsiteY8" fmla="*/ 0 h 440357"/>
                  <a:gd name="connsiteX9" fmla="*/ 301893 w 303723"/>
                  <a:gd name="connsiteY9" fmla="*/ 244170 h 440357"/>
                  <a:gd name="connsiteX10" fmla="*/ 187524 w 303723"/>
                  <a:gd name="connsiteY10" fmla="*/ 417106 h 440357"/>
                  <a:gd name="connsiteX11" fmla="*/ 141582 w 303723"/>
                  <a:gd name="connsiteY11" fmla="*/ 440357 h 440357"/>
                  <a:gd name="connsiteX12" fmla="*/ 5105 w 303723"/>
                  <a:gd name="connsiteY12" fmla="*/ 283042 h 440357"/>
                  <a:gd name="connsiteX13" fmla="*/ 196781 w 303723"/>
                  <a:gd name="connsiteY13" fmla="*/ 0 h 4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723" h="440357">
                    <a:moveTo>
                      <a:pt x="160062" y="227454"/>
                    </a:moveTo>
                    <a:cubicBezTo>
                      <a:pt x="104631" y="268697"/>
                      <a:pt x="73769" y="322942"/>
                      <a:pt x="88479" y="356592"/>
                    </a:cubicBezTo>
                    <a:cubicBezTo>
                      <a:pt x="103190" y="390244"/>
                      <a:pt x="138582" y="396585"/>
                      <a:pt x="153242" y="419027"/>
                    </a:cubicBezTo>
                    <a:lnTo>
                      <a:pt x="172114" y="407258"/>
                    </a:lnTo>
                    <a:cubicBezTo>
                      <a:pt x="199346" y="399755"/>
                      <a:pt x="219097" y="365394"/>
                      <a:pt x="215034" y="336843"/>
                    </a:cubicBezTo>
                    <a:cubicBezTo>
                      <a:pt x="187847" y="322096"/>
                      <a:pt x="166585" y="299374"/>
                      <a:pt x="153423" y="272459"/>
                    </a:cubicBezTo>
                    <a:lnTo>
                      <a:pt x="165412" y="257518"/>
                    </a:lnTo>
                    <a:cubicBezTo>
                      <a:pt x="161788" y="249170"/>
                      <a:pt x="159862" y="239393"/>
                      <a:pt x="160062" y="227454"/>
                    </a:cubicBezTo>
                    <a:close/>
                    <a:moveTo>
                      <a:pt x="196781" y="0"/>
                    </a:moveTo>
                    <a:cubicBezTo>
                      <a:pt x="184370" y="116772"/>
                      <a:pt x="268465" y="151520"/>
                      <a:pt x="301893" y="244170"/>
                    </a:cubicBezTo>
                    <a:cubicBezTo>
                      <a:pt x="314735" y="314846"/>
                      <a:pt x="258199" y="404266"/>
                      <a:pt x="187524" y="417106"/>
                    </a:cubicBezTo>
                    <a:lnTo>
                      <a:pt x="141582" y="440357"/>
                    </a:lnTo>
                    <a:cubicBezTo>
                      <a:pt x="112403" y="385587"/>
                      <a:pt x="32094" y="363671"/>
                      <a:pt x="5105" y="283042"/>
                    </a:cubicBezTo>
                    <a:cubicBezTo>
                      <a:pt x="-21884" y="202412"/>
                      <a:pt x="60461" y="83684"/>
                      <a:pt x="196781" y="0"/>
                    </a:cubicBezTo>
                    <a:close/>
                  </a:path>
                </a:pathLst>
              </a:custGeom>
              <a:solidFill>
                <a:srgbClr val="86BE0E"/>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sp>
          <p:nvSpPr>
            <p:cNvPr id="61" name="Device … 1"/>
            <p:cNvSpPr>
              <a:spLocks noEditPoints="1"/>
            </p:cNvSpPr>
            <p:nvPr/>
          </p:nvSpPr>
          <p:spPr bwMode="black">
            <a:xfrm>
              <a:off x="8226935" y="3762665"/>
              <a:ext cx="297458" cy="29726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nvGrpSpPr>
            <p:cNvPr id="62" name="IoT Hub management"/>
            <p:cNvGrpSpPr/>
            <p:nvPr/>
          </p:nvGrpSpPr>
          <p:grpSpPr>
            <a:xfrm>
              <a:off x="9578879" y="4896097"/>
              <a:ext cx="425518" cy="375193"/>
              <a:chOff x="5940450" y="5470954"/>
              <a:chExt cx="425518" cy="375193"/>
            </a:xfrm>
          </p:grpSpPr>
          <p:sp>
            <p:nvSpPr>
              <p:cNvPr id="63" name="Freeform 62"/>
              <p:cNvSpPr/>
              <p:nvPr/>
            </p:nvSpPr>
            <p:spPr bwMode="auto">
              <a:xfrm>
                <a:off x="5940450" y="5470954"/>
                <a:ext cx="425518" cy="375193"/>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6032077" y="5601867"/>
                <a:ext cx="258584" cy="74058"/>
                <a:chOff x="5993561" y="5590711"/>
                <a:chExt cx="371622" cy="106432"/>
              </a:xfrm>
            </p:grpSpPr>
            <p:sp>
              <p:nvSpPr>
                <p:cNvPr id="69" name="Rectangle 68"/>
                <p:cNvSpPr/>
                <p:nvPr/>
              </p:nvSpPr>
              <p:spPr bwMode="auto">
                <a:xfrm>
                  <a:off x="599356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p:cNvSpPr/>
                <p:nvPr/>
              </p:nvSpPr>
              <p:spPr bwMode="auto">
                <a:xfrm>
                  <a:off x="6123832"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p:cNvSpPr/>
                <p:nvPr/>
              </p:nvSpPr>
              <p:spPr bwMode="auto">
                <a:xfrm>
                  <a:off x="6258751" y="5590711"/>
                  <a:ext cx="106432" cy="1064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5" name="Group 64"/>
              <p:cNvGrpSpPr/>
              <p:nvPr/>
            </p:nvGrpSpPr>
            <p:grpSpPr>
              <a:xfrm>
                <a:off x="6032077" y="5697143"/>
                <a:ext cx="258584" cy="74058"/>
                <a:chOff x="5993561" y="5590711"/>
                <a:chExt cx="371622" cy="106432"/>
              </a:xfrm>
            </p:grpSpPr>
            <p:sp>
              <p:nvSpPr>
                <p:cNvPr id="66" name="Rectangle 65"/>
                <p:cNvSpPr/>
                <p:nvPr/>
              </p:nvSpPr>
              <p:spPr bwMode="auto">
                <a:xfrm>
                  <a:off x="5993561" y="5590711"/>
                  <a:ext cx="106432" cy="106432"/>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p:cNvSpPr/>
                <p:nvPr/>
              </p:nvSpPr>
              <p:spPr bwMode="auto">
                <a:xfrm>
                  <a:off x="6123832"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p:cNvSpPr/>
                <p:nvPr/>
              </p:nvSpPr>
              <p:spPr bwMode="auto">
                <a:xfrm>
                  <a:off x="6258751" y="5590711"/>
                  <a:ext cx="106432" cy="106432"/>
                </a:xfrm>
                <a:prstGeom prst="rect">
                  <a:avLst/>
                </a:prstGeom>
                <a:solidFill>
                  <a:srgbClr val="B2B3B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75" name="C2D send endpoint"/>
            <p:cNvGrpSpPr>
              <a:grpSpLocks noChangeAspect="1"/>
            </p:cNvGrpSpPr>
            <p:nvPr/>
          </p:nvGrpSpPr>
          <p:grpSpPr bwMode="auto">
            <a:xfrm>
              <a:off x="9809301" y="3533289"/>
              <a:ext cx="184628" cy="186405"/>
              <a:chOff x="8096" y="-1886"/>
              <a:chExt cx="935" cy="944"/>
            </a:xfrm>
            <a:solidFill>
              <a:schemeClr val="bg1"/>
            </a:solidFill>
          </p:grpSpPr>
          <p:sp>
            <p:nvSpPr>
              <p:cNvPr id="76" name="Oval 718"/>
              <p:cNvSpPr>
                <a:spLocks noChangeArrowheads="1"/>
              </p:cNvSpPr>
              <p:nvPr/>
            </p:nvSpPr>
            <p:spPr bwMode="auto">
              <a:xfrm>
                <a:off x="8096" y="-1202"/>
                <a:ext cx="257" cy="260"/>
              </a:xfrm>
              <a:prstGeom prst="ellipse">
                <a:avLst/>
              </a:pr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7" name="Freeform 719"/>
              <p:cNvSpPr>
                <a:spLocks/>
              </p:cNvSpPr>
              <p:nvPr/>
            </p:nvSpPr>
            <p:spPr bwMode="auto">
              <a:xfrm>
                <a:off x="8096" y="-1568"/>
                <a:ext cx="618" cy="626"/>
              </a:xfrm>
              <a:custGeom>
                <a:avLst/>
                <a:gdLst>
                  <a:gd name="T0" fmla="*/ 262 w 262"/>
                  <a:gd name="T1" fmla="*/ 265 h 265"/>
                  <a:gd name="T2" fmla="*/ 186 w 262"/>
                  <a:gd name="T3" fmla="*/ 265 h 265"/>
                  <a:gd name="T4" fmla="*/ 0 w 262"/>
                  <a:gd name="T5" fmla="*/ 78 h 265"/>
                  <a:gd name="T6" fmla="*/ 0 w 262"/>
                  <a:gd name="T7" fmla="*/ 78 h 265"/>
                  <a:gd name="T8" fmla="*/ 0 w 262"/>
                  <a:gd name="T9" fmla="*/ 0 h 265"/>
                  <a:gd name="T10" fmla="*/ 262 w 262"/>
                  <a:gd name="T11" fmla="*/ 265 h 265"/>
                </a:gdLst>
                <a:ahLst/>
                <a:cxnLst>
                  <a:cxn ang="0">
                    <a:pos x="T0" y="T1"/>
                  </a:cxn>
                  <a:cxn ang="0">
                    <a:pos x="T2" y="T3"/>
                  </a:cxn>
                  <a:cxn ang="0">
                    <a:pos x="T4" y="T5"/>
                  </a:cxn>
                  <a:cxn ang="0">
                    <a:pos x="T6" y="T7"/>
                  </a:cxn>
                  <a:cxn ang="0">
                    <a:pos x="T8" y="T9"/>
                  </a:cxn>
                  <a:cxn ang="0">
                    <a:pos x="T10" y="T11"/>
                  </a:cxn>
                </a:cxnLst>
                <a:rect l="0" t="0" r="r" b="b"/>
                <a:pathLst>
                  <a:path w="262" h="265">
                    <a:moveTo>
                      <a:pt x="262" y="265"/>
                    </a:moveTo>
                    <a:cubicBezTo>
                      <a:pt x="186" y="265"/>
                      <a:pt x="186" y="265"/>
                      <a:pt x="186" y="265"/>
                    </a:cubicBezTo>
                    <a:cubicBezTo>
                      <a:pt x="186" y="161"/>
                      <a:pt x="103" y="78"/>
                      <a:pt x="0" y="78"/>
                    </a:cubicBezTo>
                    <a:cubicBezTo>
                      <a:pt x="0" y="78"/>
                      <a:pt x="0" y="78"/>
                      <a:pt x="0" y="78"/>
                    </a:cubicBezTo>
                    <a:cubicBezTo>
                      <a:pt x="0" y="0"/>
                      <a:pt x="0" y="0"/>
                      <a:pt x="0" y="0"/>
                    </a:cubicBezTo>
                    <a:cubicBezTo>
                      <a:pt x="145" y="0"/>
                      <a:pt x="262" y="119"/>
                      <a:pt x="262" y="265"/>
                    </a:cubicBez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78" name="Freeform 720"/>
              <p:cNvSpPr>
                <a:spLocks/>
              </p:cNvSpPr>
              <p:nvPr/>
            </p:nvSpPr>
            <p:spPr bwMode="auto">
              <a:xfrm>
                <a:off x="8096" y="-1886"/>
                <a:ext cx="935" cy="944"/>
              </a:xfrm>
              <a:custGeom>
                <a:avLst/>
                <a:gdLst>
                  <a:gd name="T0" fmla="*/ 317 w 396"/>
                  <a:gd name="T1" fmla="*/ 400 h 400"/>
                  <a:gd name="T2" fmla="*/ 0 w 396"/>
                  <a:gd name="T3" fmla="*/ 80 h 400"/>
                  <a:gd name="T4" fmla="*/ 0 w 396"/>
                  <a:gd name="T5" fmla="*/ 0 h 400"/>
                  <a:gd name="T6" fmla="*/ 396 w 396"/>
                  <a:gd name="T7" fmla="*/ 400 h 400"/>
                  <a:gd name="T8" fmla="*/ 317 w 396"/>
                  <a:gd name="T9" fmla="*/ 400 h 400"/>
                </a:gdLst>
                <a:ahLst/>
                <a:cxnLst>
                  <a:cxn ang="0">
                    <a:pos x="T0" y="T1"/>
                  </a:cxn>
                  <a:cxn ang="0">
                    <a:pos x="T2" y="T3"/>
                  </a:cxn>
                  <a:cxn ang="0">
                    <a:pos x="T4" y="T5"/>
                  </a:cxn>
                  <a:cxn ang="0">
                    <a:pos x="T6" y="T7"/>
                  </a:cxn>
                  <a:cxn ang="0">
                    <a:pos x="T8" y="T9"/>
                  </a:cxn>
                </a:cxnLst>
                <a:rect l="0" t="0" r="r" b="b"/>
                <a:pathLst>
                  <a:path w="396" h="400">
                    <a:moveTo>
                      <a:pt x="317" y="400"/>
                    </a:moveTo>
                    <a:cubicBezTo>
                      <a:pt x="317" y="223"/>
                      <a:pt x="175" y="80"/>
                      <a:pt x="0" y="80"/>
                    </a:cubicBezTo>
                    <a:cubicBezTo>
                      <a:pt x="0" y="0"/>
                      <a:pt x="0" y="0"/>
                      <a:pt x="0" y="0"/>
                    </a:cubicBezTo>
                    <a:cubicBezTo>
                      <a:pt x="219" y="0"/>
                      <a:pt x="396" y="179"/>
                      <a:pt x="396" y="400"/>
                    </a:cubicBezTo>
                    <a:lnTo>
                      <a:pt x="317" y="4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9" name="D2C receive endpoint"/>
            <p:cNvSpPr>
              <a:spLocks noChangeAspect="1"/>
            </p:cNvSpPr>
            <p:nvPr/>
          </p:nvSpPr>
          <p:spPr>
            <a:xfrm>
              <a:off x="9700286" y="2670435"/>
              <a:ext cx="349299" cy="199285"/>
            </a:xfrm>
            <a:custGeom>
              <a:avLst/>
              <a:gdLst>
                <a:gd name="connsiteX0" fmla="*/ 667304 w 790922"/>
                <a:gd name="connsiteY0" fmla="*/ 269960 h 451244"/>
                <a:gd name="connsiteX1" fmla="*/ 611339 w 790922"/>
                <a:gd name="connsiteY1" fmla="*/ 325925 h 451244"/>
                <a:gd name="connsiteX2" fmla="*/ 667304 w 790922"/>
                <a:gd name="connsiteY2" fmla="*/ 381890 h 451244"/>
                <a:gd name="connsiteX3" fmla="*/ 723269 w 790922"/>
                <a:gd name="connsiteY3" fmla="*/ 325925 h 451244"/>
                <a:gd name="connsiteX4" fmla="*/ 667304 w 790922"/>
                <a:gd name="connsiteY4" fmla="*/ 269960 h 451244"/>
                <a:gd name="connsiteX5" fmla="*/ 490129 w 790922"/>
                <a:gd name="connsiteY5" fmla="*/ 269960 h 451244"/>
                <a:gd name="connsiteX6" fmla="*/ 434164 w 790922"/>
                <a:gd name="connsiteY6" fmla="*/ 325925 h 451244"/>
                <a:gd name="connsiteX7" fmla="*/ 490129 w 790922"/>
                <a:gd name="connsiteY7" fmla="*/ 381890 h 451244"/>
                <a:gd name="connsiteX8" fmla="*/ 546094 w 790922"/>
                <a:gd name="connsiteY8" fmla="*/ 325925 h 451244"/>
                <a:gd name="connsiteX9" fmla="*/ 490129 w 790922"/>
                <a:gd name="connsiteY9" fmla="*/ 269960 h 451244"/>
                <a:gd name="connsiteX10" fmla="*/ 312954 w 790922"/>
                <a:gd name="connsiteY10" fmla="*/ 269960 h 451244"/>
                <a:gd name="connsiteX11" fmla="*/ 256989 w 790922"/>
                <a:gd name="connsiteY11" fmla="*/ 325925 h 451244"/>
                <a:gd name="connsiteX12" fmla="*/ 312954 w 790922"/>
                <a:gd name="connsiteY12" fmla="*/ 381890 h 451244"/>
                <a:gd name="connsiteX13" fmla="*/ 368919 w 790922"/>
                <a:gd name="connsiteY13" fmla="*/ 325925 h 451244"/>
                <a:gd name="connsiteX14" fmla="*/ 312954 w 790922"/>
                <a:gd name="connsiteY14" fmla="*/ 269960 h 451244"/>
                <a:gd name="connsiteX15" fmla="*/ 135779 w 790922"/>
                <a:gd name="connsiteY15" fmla="*/ 269960 h 451244"/>
                <a:gd name="connsiteX16" fmla="*/ 79814 w 790922"/>
                <a:gd name="connsiteY16" fmla="*/ 325925 h 451244"/>
                <a:gd name="connsiteX17" fmla="*/ 135779 w 790922"/>
                <a:gd name="connsiteY17" fmla="*/ 381890 h 451244"/>
                <a:gd name="connsiteX18" fmla="*/ 191744 w 790922"/>
                <a:gd name="connsiteY18" fmla="*/ 325925 h 451244"/>
                <a:gd name="connsiteX19" fmla="*/ 135779 w 790922"/>
                <a:gd name="connsiteY19" fmla="*/ 269960 h 451244"/>
                <a:gd name="connsiteX20" fmla="*/ 42480 w 790922"/>
                <a:gd name="connsiteY20" fmla="*/ 196370 h 451244"/>
                <a:gd name="connsiteX21" fmla="*/ 748442 w 790922"/>
                <a:gd name="connsiteY21" fmla="*/ 196370 h 451244"/>
                <a:gd name="connsiteX22" fmla="*/ 790922 w 790922"/>
                <a:gd name="connsiteY22" fmla="*/ 238850 h 451244"/>
                <a:gd name="connsiteX23" fmla="*/ 790922 w 790922"/>
                <a:gd name="connsiteY23" fmla="*/ 408764 h 451244"/>
                <a:gd name="connsiteX24" fmla="*/ 748442 w 790922"/>
                <a:gd name="connsiteY24" fmla="*/ 451244 h 451244"/>
                <a:gd name="connsiteX25" fmla="*/ 42480 w 790922"/>
                <a:gd name="connsiteY25" fmla="*/ 451244 h 451244"/>
                <a:gd name="connsiteX26" fmla="*/ 0 w 790922"/>
                <a:gd name="connsiteY26" fmla="*/ 408764 h 451244"/>
                <a:gd name="connsiteX27" fmla="*/ 0 w 790922"/>
                <a:gd name="connsiteY27" fmla="*/ 238850 h 451244"/>
                <a:gd name="connsiteX28" fmla="*/ 42480 w 790922"/>
                <a:gd name="connsiteY28" fmla="*/ 196370 h 451244"/>
                <a:gd name="connsiteX29" fmla="*/ 149858 w 790922"/>
                <a:gd name="connsiteY29" fmla="*/ 0 h 451244"/>
                <a:gd name="connsiteX30" fmla="*/ 641065 w 790922"/>
                <a:gd name="connsiteY30" fmla="*/ 0 h 451244"/>
                <a:gd name="connsiteX31" fmla="*/ 786874 w 790922"/>
                <a:gd name="connsiteY31" fmla="*/ 142247 h 451244"/>
                <a:gd name="connsiteX32" fmla="*/ 4049 w 790922"/>
                <a:gd name="connsiteY32" fmla="*/ 142247 h 45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90922" h="451244">
                  <a:moveTo>
                    <a:pt x="667304" y="269960"/>
                  </a:moveTo>
                  <a:cubicBezTo>
                    <a:pt x="636395" y="269960"/>
                    <a:pt x="611339" y="295016"/>
                    <a:pt x="611339" y="325925"/>
                  </a:cubicBezTo>
                  <a:cubicBezTo>
                    <a:pt x="611339" y="356834"/>
                    <a:pt x="636395" y="381890"/>
                    <a:pt x="667304" y="381890"/>
                  </a:cubicBezTo>
                  <a:cubicBezTo>
                    <a:pt x="698213" y="381890"/>
                    <a:pt x="723269" y="356834"/>
                    <a:pt x="723269" y="325925"/>
                  </a:cubicBezTo>
                  <a:cubicBezTo>
                    <a:pt x="723269" y="295016"/>
                    <a:pt x="698213" y="269960"/>
                    <a:pt x="667304" y="269960"/>
                  </a:cubicBezTo>
                  <a:close/>
                  <a:moveTo>
                    <a:pt x="490129" y="269960"/>
                  </a:moveTo>
                  <a:cubicBezTo>
                    <a:pt x="459220" y="269960"/>
                    <a:pt x="434164" y="295016"/>
                    <a:pt x="434164" y="325925"/>
                  </a:cubicBezTo>
                  <a:cubicBezTo>
                    <a:pt x="434164" y="356834"/>
                    <a:pt x="459220" y="381890"/>
                    <a:pt x="490129" y="381890"/>
                  </a:cubicBezTo>
                  <a:cubicBezTo>
                    <a:pt x="521038" y="381890"/>
                    <a:pt x="546094" y="356834"/>
                    <a:pt x="546094" y="325925"/>
                  </a:cubicBezTo>
                  <a:cubicBezTo>
                    <a:pt x="546094" y="295016"/>
                    <a:pt x="521038" y="269960"/>
                    <a:pt x="490129" y="269960"/>
                  </a:cubicBezTo>
                  <a:close/>
                  <a:moveTo>
                    <a:pt x="312954" y="269960"/>
                  </a:moveTo>
                  <a:cubicBezTo>
                    <a:pt x="282045" y="269960"/>
                    <a:pt x="256989" y="295016"/>
                    <a:pt x="256989" y="325925"/>
                  </a:cubicBezTo>
                  <a:cubicBezTo>
                    <a:pt x="256989" y="356834"/>
                    <a:pt x="282045" y="381890"/>
                    <a:pt x="312954" y="381890"/>
                  </a:cubicBezTo>
                  <a:cubicBezTo>
                    <a:pt x="343863" y="381890"/>
                    <a:pt x="368919" y="356834"/>
                    <a:pt x="368919" y="325925"/>
                  </a:cubicBezTo>
                  <a:cubicBezTo>
                    <a:pt x="368919" y="295016"/>
                    <a:pt x="343863" y="269960"/>
                    <a:pt x="312954" y="269960"/>
                  </a:cubicBezTo>
                  <a:close/>
                  <a:moveTo>
                    <a:pt x="135779" y="269960"/>
                  </a:moveTo>
                  <a:cubicBezTo>
                    <a:pt x="104870" y="269960"/>
                    <a:pt x="79814" y="295016"/>
                    <a:pt x="79814" y="325925"/>
                  </a:cubicBezTo>
                  <a:cubicBezTo>
                    <a:pt x="79814" y="356834"/>
                    <a:pt x="104870" y="381890"/>
                    <a:pt x="135779" y="381890"/>
                  </a:cubicBezTo>
                  <a:cubicBezTo>
                    <a:pt x="166688" y="381890"/>
                    <a:pt x="191744" y="356834"/>
                    <a:pt x="191744" y="325925"/>
                  </a:cubicBezTo>
                  <a:cubicBezTo>
                    <a:pt x="191744" y="295016"/>
                    <a:pt x="166688" y="269960"/>
                    <a:pt x="135779" y="269960"/>
                  </a:cubicBezTo>
                  <a:close/>
                  <a:moveTo>
                    <a:pt x="42480" y="196370"/>
                  </a:moveTo>
                  <a:lnTo>
                    <a:pt x="748442" y="196370"/>
                  </a:lnTo>
                  <a:cubicBezTo>
                    <a:pt x="771903" y="196370"/>
                    <a:pt x="790922" y="215389"/>
                    <a:pt x="790922" y="238850"/>
                  </a:cubicBezTo>
                  <a:lnTo>
                    <a:pt x="790922" y="408764"/>
                  </a:lnTo>
                  <a:cubicBezTo>
                    <a:pt x="790922" y="432225"/>
                    <a:pt x="771903" y="451244"/>
                    <a:pt x="748442" y="451244"/>
                  </a:cubicBezTo>
                  <a:lnTo>
                    <a:pt x="42480" y="451244"/>
                  </a:lnTo>
                  <a:cubicBezTo>
                    <a:pt x="19019" y="451244"/>
                    <a:pt x="0" y="432225"/>
                    <a:pt x="0" y="408764"/>
                  </a:cubicBezTo>
                  <a:lnTo>
                    <a:pt x="0" y="238850"/>
                  </a:lnTo>
                  <a:cubicBezTo>
                    <a:pt x="0" y="215389"/>
                    <a:pt x="19019" y="196370"/>
                    <a:pt x="42480" y="196370"/>
                  </a:cubicBezTo>
                  <a:close/>
                  <a:moveTo>
                    <a:pt x="149858" y="0"/>
                  </a:moveTo>
                  <a:lnTo>
                    <a:pt x="641065" y="0"/>
                  </a:lnTo>
                  <a:lnTo>
                    <a:pt x="786874" y="142247"/>
                  </a:lnTo>
                  <a:lnTo>
                    <a:pt x="4049" y="142247"/>
                  </a:lnTo>
                  <a:close/>
                </a:path>
              </a:pathLst>
            </a:custGeom>
            <a:gradFill>
              <a:gsLst>
                <a:gs pos="28000">
                  <a:srgbClr val="5EB6DA"/>
                </a:gs>
                <a:gs pos="28000">
                  <a:srgbClr val="3999C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 name="device"/>
          <p:cNvGrpSpPr/>
          <p:nvPr/>
        </p:nvGrpSpPr>
        <p:grpSpPr>
          <a:xfrm>
            <a:off x="5522966" y="2632209"/>
            <a:ext cx="1491583" cy="2078100"/>
            <a:chOff x="4957920" y="3763411"/>
            <a:chExt cx="1491583" cy="2078100"/>
          </a:xfrm>
          <a:solidFill>
            <a:schemeClr val="tx1"/>
          </a:solidFill>
        </p:grpSpPr>
        <p:sp>
          <p:nvSpPr>
            <p:cNvPr id="110" name="Rectangle 53"/>
            <p:cNvSpPr/>
            <p:nvPr/>
          </p:nvSpPr>
          <p:spPr bwMode="auto">
            <a:xfrm>
              <a:off x="5702130" y="4669454"/>
              <a:ext cx="94234" cy="1172057"/>
            </a:xfrm>
            <a:custGeom>
              <a:avLst/>
              <a:gdLst>
                <a:gd name="connsiteX0" fmla="*/ 0 w 484745"/>
                <a:gd name="connsiteY0" fmla="*/ 0 h 4160950"/>
                <a:gd name="connsiteX1" fmla="*/ 484745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0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0 w 484745"/>
                <a:gd name="connsiteY4" fmla="*/ 0 h 4160950"/>
                <a:gd name="connsiteX0" fmla="*/ 70339 w 484745"/>
                <a:gd name="connsiteY0" fmla="*/ 0 h 4160950"/>
                <a:gd name="connsiteX1" fmla="*/ 400339 w 484745"/>
                <a:gd name="connsiteY1" fmla="*/ 0 h 4160950"/>
                <a:gd name="connsiteX2" fmla="*/ 484745 w 484745"/>
                <a:gd name="connsiteY2" fmla="*/ 4160950 h 4160950"/>
                <a:gd name="connsiteX3" fmla="*/ 0 w 484745"/>
                <a:gd name="connsiteY3" fmla="*/ 4160950 h 4160950"/>
                <a:gd name="connsiteX4" fmla="*/ 70339 w 484745"/>
                <a:gd name="connsiteY4" fmla="*/ 0 h 4160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45" h="4160950">
                  <a:moveTo>
                    <a:pt x="70339" y="0"/>
                  </a:moveTo>
                  <a:lnTo>
                    <a:pt x="400339" y="0"/>
                  </a:lnTo>
                  <a:lnTo>
                    <a:pt x="484745" y="4160950"/>
                  </a:lnTo>
                  <a:lnTo>
                    <a:pt x="0" y="4160950"/>
                  </a:lnTo>
                  <a:lnTo>
                    <a:pt x="703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10" name="Group 9"/>
            <p:cNvGrpSpPr/>
            <p:nvPr/>
          </p:nvGrpSpPr>
          <p:grpSpPr>
            <a:xfrm>
              <a:off x="4957920" y="3763411"/>
              <a:ext cx="1491583" cy="1157753"/>
              <a:chOff x="4957920" y="3763411"/>
              <a:chExt cx="1491583" cy="1157753"/>
            </a:xfrm>
            <a:grpFill/>
          </p:grpSpPr>
          <p:sp>
            <p:nvSpPr>
              <p:cNvPr id="112" name="Oval 111"/>
              <p:cNvSpPr/>
              <p:nvPr/>
            </p:nvSpPr>
            <p:spPr bwMode="auto">
              <a:xfrm rot="780000">
                <a:off x="5672307" y="4479792"/>
                <a:ext cx="164892" cy="1648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3" name="Isosceles Triangle 112"/>
              <p:cNvSpPr/>
              <p:nvPr/>
            </p:nvSpPr>
            <p:spPr bwMode="auto">
              <a:xfrm rot="15180000">
                <a:off x="5269407" y="4336640"/>
                <a:ext cx="89260" cy="712234"/>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4" name="Isosceles Triangle 113"/>
              <p:cNvSpPr/>
              <p:nvPr/>
            </p:nvSpPr>
            <p:spPr bwMode="auto">
              <a:xfrm rot="780000">
                <a:off x="5821938" y="3763411"/>
                <a:ext cx="89285" cy="712037"/>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15" name="Isosceles Triangle 114"/>
              <p:cNvSpPr/>
              <p:nvPr/>
            </p:nvSpPr>
            <p:spPr bwMode="auto">
              <a:xfrm rot="7980000">
                <a:off x="6048756" y="4520418"/>
                <a:ext cx="89261" cy="712232"/>
              </a:xfrm>
              <a:prstGeom prst="triangl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84" name="Group 83"/>
            <p:cNvGrpSpPr/>
            <p:nvPr/>
          </p:nvGrpSpPr>
          <p:grpSpPr>
            <a:xfrm rot="15009823">
              <a:off x="5437362" y="4267287"/>
              <a:ext cx="184979" cy="299223"/>
              <a:chOff x="10804232" y="5827621"/>
              <a:chExt cx="81972" cy="132564"/>
            </a:xfrm>
            <a:grpFill/>
          </p:grpSpPr>
          <p:sp>
            <p:nvSpPr>
              <p:cNvPr id="95" name="Freeform 76"/>
              <p:cNvSpPr>
                <a:spLocks/>
              </p:cNvSpPr>
              <p:nvPr/>
            </p:nvSpPr>
            <p:spPr bwMode="auto">
              <a:xfrm rot="9000000" flipH="1">
                <a:off x="10804232" y="5896125"/>
                <a:ext cx="21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96" name="Freeform 78"/>
              <p:cNvSpPr>
                <a:spLocks/>
              </p:cNvSpPr>
              <p:nvPr/>
            </p:nvSpPr>
            <p:spPr bwMode="auto">
              <a:xfrm rot="9000000" flipH="1">
                <a:off x="10820402" y="5864243"/>
                <a:ext cx="33401"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sp>
            <p:nvSpPr>
              <p:cNvPr id="97" name="Freeform 80"/>
              <p:cNvSpPr>
                <a:spLocks/>
              </p:cNvSpPr>
              <p:nvPr/>
            </p:nvSpPr>
            <p:spPr bwMode="auto">
              <a:xfrm rot="9000000" flipH="1">
                <a:off x="10843028" y="5827621"/>
                <a:ext cx="43176"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mn-ea"/>
                  <a:cs typeface="+mn-cs"/>
                </a:endParaRPr>
              </a:p>
            </p:txBody>
          </p:sp>
        </p:grpSp>
      </p:grpSp>
      <p:cxnSp>
        <p:nvCxnSpPr>
          <p:cNvPr id="116" name="Straight Arrow Connector 115"/>
          <p:cNvCxnSpPr/>
          <p:nvPr/>
        </p:nvCxnSpPr>
        <p:spPr>
          <a:xfrm flipH="1">
            <a:off x="6517709" y="3485885"/>
            <a:ext cx="950582" cy="0"/>
          </a:xfrm>
          <a:prstGeom prst="straightConnector1">
            <a:avLst/>
          </a:prstGeom>
          <a:ln w="38100">
            <a:solidFill>
              <a:schemeClr val="accent3"/>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6517709" y="2993007"/>
            <a:ext cx="950582" cy="0"/>
          </a:xfrm>
          <a:prstGeom prst="straightConnector1">
            <a:avLst/>
          </a:prstGeom>
          <a:ln w="38100">
            <a:solidFill>
              <a:srgbClr val="777777"/>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1" name="Straight Arrow Connector 120"/>
          <p:cNvCxnSpPr/>
          <p:nvPr/>
        </p:nvCxnSpPr>
        <p:spPr>
          <a:xfrm>
            <a:off x="10031529" y="2182252"/>
            <a:ext cx="432152" cy="0"/>
          </a:xfrm>
          <a:prstGeom prst="straightConnector1">
            <a:avLst/>
          </a:prstGeom>
          <a:ln w="38100">
            <a:solidFill>
              <a:schemeClr val="accent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p:cNvCxnSpPr>
            <a:stCxn id="120" idx="1"/>
          </p:cNvCxnSpPr>
          <p:nvPr/>
        </p:nvCxnSpPr>
        <p:spPr>
          <a:xfrm flipH="1">
            <a:off x="10066788" y="5149961"/>
            <a:ext cx="349028" cy="0"/>
          </a:xfrm>
          <a:prstGeom prst="straightConnector1">
            <a:avLst/>
          </a:prstGeom>
          <a:ln w="38100">
            <a:solidFill>
              <a:schemeClr val="accent4"/>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a:stCxn id="120" idx="1"/>
          </p:cNvCxnSpPr>
          <p:nvPr/>
        </p:nvCxnSpPr>
        <p:spPr>
          <a:xfrm flipH="1" flipV="1">
            <a:off x="10074606" y="4094281"/>
            <a:ext cx="341210" cy="1055680"/>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4" name="Straight Arrow Connector 123"/>
          <p:cNvCxnSpPr/>
          <p:nvPr/>
        </p:nvCxnSpPr>
        <p:spPr>
          <a:xfrm>
            <a:off x="11717337" y="2725566"/>
            <a:ext cx="0" cy="368703"/>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5" name="Straight Arrow Connector 124"/>
          <p:cNvCxnSpPr/>
          <p:nvPr/>
        </p:nvCxnSpPr>
        <p:spPr>
          <a:xfrm>
            <a:off x="10517176" y="2725566"/>
            <a:ext cx="1400" cy="1892249"/>
          </a:xfrm>
          <a:prstGeom prst="straightConnector1">
            <a:avLst/>
          </a:prstGeom>
          <a:ln w="38100">
            <a:solidFill>
              <a:schemeClr val="accent5"/>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flipV="1">
            <a:off x="11031704" y="4190940"/>
            <a:ext cx="0" cy="418072"/>
          </a:xfrm>
          <a:prstGeom prst="straightConnector1">
            <a:avLst/>
          </a:prstGeom>
          <a:ln w="38100">
            <a:solidFill>
              <a:schemeClr val="accent4"/>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8" name="Straight Arrow Connector 127"/>
          <p:cNvCxnSpPr/>
          <p:nvPr/>
        </p:nvCxnSpPr>
        <p:spPr>
          <a:xfrm flipV="1">
            <a:off x="11641218" y="4190942"/>
            <a:ext cx="0" cy="418070"/>
          </a:xfrm>
          <a:prstGeom prst="straightConnector1">
            <a:avLst/>
          </a:prstGeom>
          <a:ln w="38100">
            <a:solidFill>
              <a:schemeClr val="accent6"/>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4" name="Event Processor"/>
          <p:cNvGrpSpPr/>
          <p:nvPr/>
        </p:nvGrpSpPr>
        <p:grpSpPr>
          <a:xfrm>
            <a:off x="10463681" y="1942799"/>
            <a:ext cx="1769331" cy="725437"/>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Event </a:t>
              </a:r>
              <a:br>
                <a:rPr lang="en-US" sz="1100" dirty="0">
                  <a:solidFill>
                    <a:schemeClr val="tx1"/>
                  </a:solidFill>
                  <a:ea typeface="Segoe UI" pitchFamily="34" charset="0"/>
                  <a:cs typeface="Segoe UI" pitchFamily="34" charset="0"/>
                </a:rPr>
              </a:br>
              <a:r>
                <a:rPr lang="en-US" sz="1100" dirty="0">
                  <a:solidFill>
                    <a:schemeClr val="tx1"/>
                  </a:solidFill>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nvGrpSpPr>
          <p:cNvPr id="6" name="Command store"/>
          <p:cNvGrpSpPr/>
          <p:nvPr/>
        </p:nvGrpSpPr>
        <p:grpSpPr>
          <a:xfrm>
            <a:off x="11358270" y="3165977"/>
            <a:ext cx="876589" cy="967237"/>
            <a:chOff x="11358270" y="3165977"/>
            <a:chExt cx="876589" cy="967237"/>
          </a:xfrm>
        </p:grpSpPr>
        <p:sp>
          <p:nvSpPr>
            <p:cNvPr id="127" name="Command store"/>
            <p:cNvSpPr/>
            <p:nvPr/>
          </p:nvSpPr>
          <p:spPr>
            <a:xfrm>
              <a:off x="11358270" y="3165977"/>
              <a:ext cx="876589"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Command store</a:t>
              </a:r>
            </a:p>
          </p:txBody>
        </p:sp>
        <p:grpSp>
          <p:nvGrpSpPr>
            <p:cNvPr id="145" name="Group 144"/>
            <p:cNvGrpSpPr>
              <a:grpSpLocks noChangeAspect="1"/>
            </p:cNvGrpSpPr>
            <p:nvPr/>
          </p:nvGrpSpPr>
          <p:grpSpPr>
            <a:xfrm>
              <a:off x="11680944" y="3356931"/>
              <a:ext cx="218481" cy="289300"/>
              <a:chOff x="784225" y="4300538"/>
              <a:chExt cx="460376" cy="609600"/>
            </a:xfrm>
          </p:grpSpPr>
          <p:sp>
            <p:nvSpPr>
              <p:cNvPr id="146" name="Freeform 6"/>
              <p:cNvSpPr>
                <a:spLocks/>
              </p:cNvSpPr>
              <p:nvPr/>
            </p:nvSpPr>
            <p:spPr bwMode="auto">
              <a:xfrm>
                <a:off x="784225" y="4383088"/>
                <a:ext cx="460375" cy="527050"/>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3999C6"/>
              </a:solidFill>
              <a:ln w="0">
                <a:solidFill>
                  <a:srgbClr val="3999C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7" name="Freeform 7"/>
              <p:cNvSpPr>
                <a:spLocks/>
              </p:cNvSpPr>
              <p:nvPr/>
            </p:nvSpPr>
            <p:spPr bwMode="auto">
              <a:xfrm>
                <a:off x="1011238" y="4383088"/>
                <a:ext cx="233363" cy="527050"/>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5AB4D9"/>
              </a:solidFill>
              <a:ln w="0">
                <a:solidFill>
                  <a:srgbClr val="5AB4D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8" name="Freeform 8"/>
              <p:cNvSpPr>
                <a:spLocks/>
              </p:cNvSpPr>
              <p:nvPr/>
            </p:nvSpPr>
            <p:spPr bwMode="auto">
              <a:xfrm>
                <a:off x="784225" y="4300538"/>
                <a:ext cx="460375" cy="166688"/>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49" name="Freeform 9"/>
              <p:cNvSpPr>
                <a:spLocks/>
              </p:cNvSpPr>
              <p:nvPr/>
            </p:nvSpPr>
            <p:spPr bwMode="auto">
              <a:xfrm>
                <a:off x="831850" y="4324351"/>
                <a:ext cx="365125" cy="109538"/>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0" name="Freeform 10"/>
              <p:cNvSpPr>
                <a:spLocks/>
              </p:cNvSpPr>
              <p:nvPr/>
            </p:nvSpPr>
            <p:spPr bwMode="auto">
              <a:xfrm>
                <a:off x="831850" y="4324351"/>
                <a:ext cx="365125" cy="88900"/>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 name="Device registry"/>
          <p:cNvGrpSpPr/>
          <p:nvPr/>
        </p:nvGrpSpPr>
        <p:grpSpPr>
          <a:xfrm>
            <a:off x="10560420" y="3171232"/>
            <a:ext cx="747684" cy="967237"/>
            <a:chOff x="10560420" y="3171232"/>
            <a:chExt cx="747684" cy="967237"/>
          </a:xfrm>
        </p:grpSpPr>
        <p:sp>
          <p:nvSpPr>
            <p:cNvPr id="119" name="Rectangle 118"/>
            <p:cNvSpPr/>
            <p:nvPr/>
          </p:nvSpPr>
          <p:spPr>
            <a:xfrm>
              <a:off x="10560420" y="3171232"/>
              <a:ext cx="74768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Device registry</a:t>
              </a:r>
            </a:p>
          </p:txBody>
        </p:sp>
        <p:grpSp>
          <p:nvGrpSpPr>
            <p:cNvPr id="160" name="Group 159"/>
            <p:cNvGrpSpPr/>
            <p:nvPr/>
          </p:nvGrpSpPr>
          <p:grpSpPr>
            <a:xfrm>
              <a:off x="10802079" y="3295670"/>
              <a:ext cx="377464" cy="359180"/>
              <a:chOff x="11209667" y="1326560"/>
              <a:chExt cx="1287867" cy="1225483"/>
            </a:xfrm>
          </p:grpSpPr>
          <p:grpSp>
            <p:nvGrpSpPr>
              <p:cNvPr id="154" name="Group 153"/>
              <p:cNvGrpSpPr/>
              <p:nvPr/>
            </p:nvGrpSpPr>
            <p:grpSpPr>
              <a:xfrm>
                <a:off x="11209667" y="1326560"/>
                <a:ext cx="901749" cy="772996"/>
                <a:chOff x="11148003" y="2486796"/>
                <a:chExt cx="1527631" cy="1309513"/>
              </a:xfrm>
            </p:grpSpPr>
            <p:sp>
              <p:nvSpPr>
                <p:cNvPr id="155" name="Round Same Side Corner Rectangle 154"/>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6" name="Round Same Side Corner Rectangle 155"/>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57" name="Group 156"/>
              <p:cNvGrpSpPr/>
              <p:nvPr/>
            </p:nvGrpSpPr>
            <p:grpSpPr>
              <a:xfrm>
                <a:off x="11403194" y="1550235"/>
                <a:ext cx="900814" cy="772996"/>
                <a:chOff x="11148003" y="2486796"/>
                <a:chExt cx="1526047" cy="1309513"/>
              </a:xfrm>
            </p:grpSpPr>
            <p:sp>
              <p:nvSpPr>
                <p:cNvPr id="158" name="Round Same Side Corner Rectangle 157"/>
                <p:cNvSpPr/>
                <p:nvPr/>
              </p:nvSpPr>
              <p:spPr bwMode="auto">
                <a:xfrm>
                  <a:off x="11148006" y="2486796"/>
                  <a:ext cx="1526044" cy="1309513"/>
                </a:xfrm>
                <a:prstGeom prst="round2SameRect">
                  <a:avLst>
                    <a:gd name="adj1" fmla="val 5262"/>
                    <a:gd name="adj2" fmla="val 0"/>
                  </a:avLst>
                </a:prstGeom>
                <a:gradFill flip="none" rotWithShape="1">
                  <a:gsLst>
                    <a:gs pos="46000">
                      <a:srgbClr val="4CA3CC"/>
                    </a:gs>
                    <a:gs pos="46000">
                      <a:srgbClr val="45A2CF"/>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9" name="Round Same Side Corner Rectangle 158"/>
                <p:cNvSpPr/>
                <p:nvPr/>
              </p:nvSpPr>
              <p:spPr bwMode="auto">
                <a:xfrm>
                  <a:off x="11148003" y="2486796"/>
                  <a:ext cx="1526044" cy="274703"/>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153" name="Group 152"/>
              <p:cNvGrpSpPr/>
              <p:nvPr/>
            </p:nvGrpSpPr>
            <p:grpSpPr>
              <a:xfrm>
                <a:off x="11595785" y="1779047"/>
                <a:ext cx="901749" cy="772996"/>
                <a:chOff x="11148003" y="2486796"/>
                <a:chExt cx="1527631" cy="1309513"/>
              </a:xfrm>
            </p:grpSpPr>
            <p:sp>
              <p:nvSpPr>
                <p:cNvPr id="151" name="Round Same Side Corner Rectangle 150"/>
                <p:cNvSpPr/>
                <p:nvPr/>
              </p:nvSpPr>
              <p:spPr bwMode="auto">
                <a:xfrm>
                  <a:off x="11148003" y="2486796"/>
                  <a:ext cx="1526044" cy="1309513"/>
                </a:xfrm>
                <a:prstGeom prst="round2SameRect">
                  <a:avLst>
                    <a:gd name="adj1" fmla="val 5262"/>
                    <a:gd name="adj2" fmla="val 0"/>
                  </a:avLst>
                </a:prstGeom>
                <a:gradFill flip="none" rotWithShape="1">
                  <a:gsLst>
                    <a:gs pos="46000">
                      <a:srgbClr val="D6D6D6"/>
                    </a:gs>
                    <a:gs pos="48000">
                      <a:srgbClr val="D1D1D1"/>
                    </a:gs>
                  </a:gsLst>
                  <a:lin ang="30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152" name="Round Same Side Corner Rectangle 151"/>
                <p:cNvSpPr/>
                <p:nvPr/>
              </p:nvSpPr>
              <p:spPr bwMode="auto">
                <a:xfrm>
                  <a:off x="11149590" y="2486796"/>
                  <a:ext cx="1526044" cy="274702"/>
                </a:xfrm>
                <a:prstGeom prst="round2SameRect">
                  <a:avLst>
                    <a:gd name="adj1" fmla="val 24145"/>
                    <a:gd name="adj2" fmla="val 0"/>
                  </a:avLst>
                </a:prstGeom>
                <a:gradFill flip="none" rotWithShape="1">
                  <a:gsLst>
                    <a:gs pos="19000">
                      <a:srgbClr val="9D9E9F"/>
                    </a:gs>
                    <a:gs pos="19000">
                      <a:srgbClr val="AAABAB"/>
                    </a:gs>
                  </a:gsLst>
                  <a:lin ang="1380000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prstClr val="white"/>
                    </a:solidFill>
                    <a:effectLst/>
                    <a:uLnTx/>
                    <a:uFillTx/>
                    <a:latin typeface="Segoe UI"/>
                    <a:ea typeface="+mn-ea"/>
                    <a:cs typeface="+mn-cs"/>
                  </a:endParaRPr>
                </a:p>
              </p:txBody>
            </p:sp>
          </p:grpSp>
        </p:grpSp>
      </p:grpSp>
      <p:grpSp>
        <p:nvGrpSpPr>
          <p:cNvPr id="7" name="Portal"/>
          <p:cNvGrpSpPr/>
          <p:nvPr/>
        </p:nvGrpSpPr>
        <p:grpSpPr>
          <a:xfrm>
            <a:off x="10415816" y="4666342"/>
            <a:ext cx="1817195" cy="967237"/>
            <a:chOff x="10415816" y="4666342"/>
            <a:chExt cx="1817195" cy="967237"/>
          </a:xfrm>
        </p:grpSpPr>
        <p:sp>
          <p:nvSpPr>
            <p:cNvPr id="120" name="Rectangle 119"/>
            <p:cNvSpPr/>
            <p:nvPr/>
          </p:nvSpPr>
          <p:spPr>
            <a:xfrm>
              <a:off x="10415816" y="4666342"/>
              <a:ext cx="1817195"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eaLnBrk="1" hangingPunct="1">
                <a:lnSpc>
                  <a:spcPct val="90000"/>
                </a:lnSpc>
                <a:spcAft>
                  <a:spcPts val="0"/>
                </a:spcAft>
              </a:pPr>
              <a:r>
                <a:rPr lang="en-US" sz="1100" dirty="0">
                  <a:solidFill>
                    <a:schemeClr val="tx1"/>
                  </a:solidFill>
                  <a:ea typeface="Segoe UI" pitchFamily="34" charset="0"/>
                  <a:cs typeface="Segoe UI" pitchFamily="34" charset="0"/>
                </a:rPr>
                <a:t>Portal</a:t>
              </a:r>
            </a:p>
          </p:txBody>
        </p:sp>
        <p:grpSp>
          <p:nvGrpSpPr>
            <p:cNvPr id="161" name="Group 160"/>
            <p:cNvGrpSpPr/>
            <p:nvPr/>
          </p:nvGrpSpPr>
          <p:grpSpPr>
            <a:xfrm>
              <a:off x="11167916" y="4822464"/>
              <a:ext cx="744447" cy="743692"/>
              <a:chOff x="6624319" y="2270080"/>
              <a:chExt cx="483564" cy="483072"/>
            </a:xfrm>
            <a:gradFill>
              <a:gsLst>
                <a:gs pos="41000">
                  <a:srgbClr val="5EB6DA"/>
                </a:gs>
                <a:gs pos="41000">
                  <a:srgbClr val="3999C6"/>
                </a:gs>
              </a:gsLst>
              <a:lin ang="7800000" scaled="0"/>
            </a:gradFill>
          </p:grpSpPr>
          <p:sp>
            <p:nvSpPr>
              <p:cNvPr id="162" name="Freeform 6"/>
              <p:cNvSpPr>
                <a:spLocks/>
              </p:cNvSpPr>
              <p:nvPr/>
            </p:nvSpPr>
            <p:spPr bwMode="auto">
              <a:xfrm flipH="1" flipV="1">
                <a:off x="6988651" y="2543452"/>
                <a:ext cx="105956" cy="141357"/>
              </a:xfrm>
              <a:custGeom>
                <a:avLst/>
                <a:gdLst>
                  <a:gd name="T0" fmla="*/ 495 w 861"/>
                  <a:gd name="T1" fmla="*/ 0 h 1149"/>
                  <a:gd name="T2" fmla="*/ 825 w 861"/>
                  <a:gd name="T3" fmla="*/ 72 h 1149"/>
                  <a:gd name="T4" fmla="*/ 861 w 861"/>
                  <a:gd name="T5" fmla="*/ 408 h 1149"/>
                  <a:gd name="T6" fmla="*/ 848 w 861"/>
                  <a:gd name="T7" fmla="*/ 420 h 1149"/>
                  <a:gd name="T8" fmla="*/ 801 w 861"/>
                  <a:gd name="T9" fmla="*/ 355 h 1149"/>
                  <a:gd name="T10" fmla="*/ 733 w 861"/>
                  <a:gd name="T11" fmla="*/ 428 h 1149"/>
                  <a:gd name="T12" fmla="*/ 670 w 861"/>
                  <a:gd name="T13" fmla="*/ 505 h 1149"/>
                  <a:gd name="T14" fmla="*/ 611 w 861"/>
                  <a:gd name="T15" fmla="*/ 587 h 1149"/>
                  <a:gd name="T16" fmla="*/ 558 w 861"/>
                  <a:gd name="T17" fmla="*/ 672 h 1149"/>
                  <a:gd name="T18" fmla="*/ 511 w 861"/>
                  <a:gd name="T19" fmla="*/ 761 h 1149"/>
                  <a:gd name="T20" fmla="*/ 469 w 861"/>
                  <a:gd name="T21" fmla="*/ 853 h 1149"/>
                  <a:gd name="T22" fmla="*/ 433 w 861"/>
                  <a:gd name="T23" fmla="*/ 949 h 1149"/>
                  <a:gd name="T24" fmla="*/ 403 w 861"/>
                  <a:gd name="T25" fmla="*/ 1047 h 1149"/>
                  <a:gd name="T26" fmla="*/ 380 w 861"/>
                  <a:gd name="T27" fmla="*/ 1149 h 1149"/>
                  <a:gd name="T28" fmla="*/ 207 w 861"/>
                  <a:gd name="T29" fmla="*/ 981 h 1149"/>
                  <a:gd name="T30" fmla="*/ 0 w 861"/>
                  <a:gd name="T31" fmla="*/ 1090 h 1149"/>
                  <a:gd name="T32" fmla="*/ 22 w 861"/>
                  <a:gd name="T33" fmla="*/ 983 h 1149"/>
                  <a:gd name="T34" fmla="*/ 51 w 861"/>
                  <a:gd name="T35" fmla="*/ 878 h 1149"/>
                  <a:gd name="T36" fmla="*/ 86 w 861"/>
                  <a:gd name="T37" fmla="*/ 776 h 1149"/>
                  <a:gd name="T38" fmla="*/ 125 w 861"/>
                  <a:gd name="T39" fmla="*/ 676 h 1149"/>
                  <a:gd name="T40" fmla="*/ 171 w 861"/>
                  <a:gd name="T41" fmla="*/ 579 h 1149"/>
                  <a:gd name="T42" fmla="*/ 221 w 861"/>
                  <a:gd name="T43" fmla="*/ 485 h 1149"/>
                  <a:gd name="T44" fmla="*/ 277 w 861"/>
                  <a:gd name="T45" fmla="*/ 394 h 1149"/>
                  <a:gd name="T46" fmla="*/ 337 w 861"/>
                  <a:gd name="T47" fmla="*/ 307 h 1149"/>
                  <a:gd name="T48" fmla="*/ 402 w 861"/>
                  <a:gd name="T49" fmla="*/ 224 h 1149"/>
                  <a:gd name="T50" fmla="*/ 471 w 861"/>
                  <a:gd name="T51" fmla="*/ 144 h 1149"/>
                  <a:gd name="T52" fmla="*/ 545 w 861"/>
                  <a:gd name="T53" fmla="*/ 67 h 1149"/>
                  <a:gd name="T54" fmla="*/ 482 w 861"/>
                  <a:gd name="T55" fmla="*/ 12 h 1149"/>
                  <a:gd name="T56" fmla="*/ 495 w 861"/>
                  <a:gd name="T57"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1" h="1149">
                    <a:moveTo>
                      <a:pt x="495" y="0"/>
                    </a:moveTo>
                    <a:lnTo>
                      <a:pt x="825" y="72"/>
                    </a:lnTo>
                    <a:lnTo>
                      <a:pt x="861" y="408"/>
                    </a:lnTo>
                    <a:lnTo>
                      <a:pt x="848" y="420"/>
                    </a:lnTo>
                    <a:lnTo>
                      <a:pt x="801" y="355"/>
                    </a:lnTo>
                    <a:lnTo>
                      <a:pt x="733" y="428"/>
                    </a:lnTo>
                    <a:lnTo>
                      <a:pt x="670" y="505"/>
                    </a:lnTo>
                    <a:lnTo>
                      <a:pt x="611" y="587"/>
                    </a:lnTo>
                    <a:lnTo>
                      <a:pt x="558" y="672"/>
                    </a:lnTo>
                    <a:lnTo>
                      <a:pt x="511" y="761"/>
                    </a:lnTo>
                    <a:lnTo>
                      <a:pt x="469" y="853"/>
                    </a:lnTo>
                    <a:lnTo>
                      <a:pt x="433" y="949"/>
                    </a:lnTo>
                    <a:lnTo>
                      <a:pt x="403" y="1047"/>
                    </a:lnTo>
                    <a:lnTo>
                      <a:pt x="380" y="1149"/>
                    </a:lnTo>
                    <a:lnTo>
                      <a:pt x="207" y="981"/>
                    </a:lnTo>
                    <a:lnTo>
                      <a:pt x="0" y="1090"/>
                    </a:lnTo>
                    <a:lnTo>
                      <a:pt x="22" y="983"/>
                    </a:lnTo>
                    <a:lnTo>
                      <a:pt x="51" y="878"/>
                    </a:lnTo>
                    <a:lnTo>
                      <a:pt x="86" y="776"/>
                    </a:lnTo>
                    <a:lnTo>
                      <a:pt x="125" y="676"/>
                    </a:lnTo>
                    <a:lnTo>
                      <a:pt x="171" y="579"/>
                    </a:lnTo>
                    <a:lnTo>
                      <a:pt x="221" y="485"/>
                    </a:lnTo>
                    <a:lnTo>
                      <a:pt x="277" y="394"/>
                    </a:lnTo>
                    <a:lnTo>
                      <a:pt x="337" y="307"/>
                    </a:lnTo>
                    <a:lnTo>
                      <a:pt x="402" y="224"/>
                    </a:lnTo>
                    <a:lnTo>
                      <a:pt x="471" y="144"/>
                    </a:lnTo>
                    <a:lnTo>
                      <a:pt x="545" y="67"/>
                    </a:lnTo>
                    <a:lnTo>
                      <a:pt x="482" y="12"/>
                    </a:lnTo>
                    <a:lnTo>
                      <a:pt x="49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3" name="Freeform 7"/>
              <p:cNvSpPr>
                <a:spLocks/>
              </p:cNvSpPr>
              <p:nvPr/>
            </p:nvSpPr>
            <p:spPr bwMode="auto">
              <a:xfrm flipH="1" flipV="1">
                <a:off x="6855653" y="2654325"/>
                <a:ext cx="157337" cy="98827"/>
              </a:xfrm>
              <a:custGeom>
                <a:avLst/>
                <a:gdLst>
                  <a:gd name="T0" fmla="*/ 1071 w 1279"/>
                  <a:gd name="T1" fmla="*/ 0 h 804"/>
                  <a:gd name="T2" fmla="*/ 1279 w 1279"/>
                  <a:gd name="T3" fmla="*/ 267 h 804"/>
                  <a:gd name="T4" fmla="*/ 1090 w 1279"/>
                  <a:gd name="T5" fmla="*/ 549 h 804"/>
                  <a:gd name="T6" fmla="*/ 1072 w 1279"/>
                  <a:gd name="T7" fmla="*/ 549 h 804"/>
                  <a:gd name="T8" fmla="*/ 1079 w 1279"/>
                  <a:gd name="T9" fmla="*/ 467 h 804"/>
                  <a:gd name="T10" fmla="*/ 976 w 1279"/>
                  <a:gd name="T11" fmla="*/ 480 h 804"/>
                  <a:gd name="T12" fmla="*/ 876 w 1279"/>
                  <a:gd name="T13" fmla="*/ 499 h 804"/>
                  <a:gd name="T14" fmla="*/ 779 w 1279"/>
                  <a:gd name="T15" fmla="*/ 526 h 804"/>
                  <a:gd name="T16" fmla="*/ 683 w 1279"/>
                  <a:gd name="T17" fmla="*/ 558 h 804"/>
                  <a:gd name="T18" fmla="*/ 591 w 1279"/>
                  <a:gd name="T19" fmla="*/ 596 h 804"/>
                  <a:gd name="T20" fmla="*/ 502 w 1279"/>
                  <a:gd name="T21" fmla="*/ 641 h 804"/>
                  <a:gd name="T22" fmla="*/ 416 w 1279"/>
                  <a:gd name="T23" fmla="*/ 690 h 804"/>
                  <a:gd name="T24" fmla="*/ 334 w 1279"/>
                  <a:gd name="T25" fmla="*/ 745 h 804"/>
                  <a:gd name="T26" fmla="*/ 256 w 1279"/>
                  <a:gd name="T27" fmla="*/ 804 h 804"/>
                  <a:gd name="T28" fmla="*/ 231 w 1279"/>
                  <a:gd name="T29" fmla="*/ 565 h 804"/>
                  <a:gd name="T30" fmla="*/ 0 w 1279"/>
                  <a:gd name="T31" fmla="*/ 516 h 804"/>
                  <a:gd name="T32" fmla="*/ 81 w 1279"/>
                  <a:gd name="T33" fmla="*/ 452 h 804"/>
                  <a:gd name="T34" fmla="*/ 167 w 1279"/>
                  <a:gd name="T35" fmla="*/ 392 h 804"/>
                  <a:gd name="T36" fmla="*/ 256 w 1279"/>
                  <a:gd name="T37" fmla="*/ 337 h 804"/>
                  <a:gd name="T38" fmla="*/ 348 w 1279"/>
                  <a:gd name="T39" fmla="*/ 286 h 804"/>
                  <a:gd name="T40" fmla="*/ 444 w 1279"/>
                  <a:gd name="T41" fmla="*/ 241 h 804"/>
                  <a:gd name="T42" fmla="*/ 541 w 1279"/>
                  <a:gd name="T43" fmla="*/ 200 h 804"/>
                  <a:gd name="T44" fmla="*/ 641 w 1279"/>
                  <a:gd name="T45" fmla="*/ 165 h 804"/>
                  <a:gd name="T46" fmla="*/ 744 w 1279"/>
                  <a:gd name="T47" fmla="*/ 135 h 804"/>
                  <a:gd name="T48" fmla="*/ 849 w 1279"/>
                  <a:gd name="T49" fmla="*/ 111 h 804"/>
                  <a:gd name="T50" fmla="*/ 957 w 1279"/>
                  <a:gd name="T51" fmla="*/ 93 h 804"/>
                  <a:gd name="T52" fmla="*/ 1066 w 1279"/>
                  <a:gd name="T53" fmla="*/ 81 h 804"/>
                  <a:gd name="T54" fmla="*/ 1053 w 1279"/>
                  <a:gd name="T55" fmla="*/ 0 h 804"/>
                  <a:gd name="T56" fmla="*/ 1071 w 1279"/>
                  <a:gd name="T5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9" h="804">
                    <a:moveTo>
                      <a:pt x="1071" y="0"/>
                    </a:moveTo>
                    <a:lnTo>
                      <a:pt x="1279" y="267"/>
                    </a:lnTo>
                    <a:lnTo>
                      <a:pt x="1090" y="549"/>
                    </a:lnTo>
                    <a:lnTo>
                      <a:pt x="1072" y="549"/>
                    </a:lnTo>
                    <a:lnTo>
                      <a:pt x="1079" y="467"/>
                    </a:lnTo>
                    <a:lnTo>
                      <a:pt x="976" y="480"/>
                    </a:lnTo>
                    <a:lnTo>
                      <a:pt x="876" y="499"/>
                    </a:lnTo>
                    <a:lnTo>
                      <a:pt x="779" y="526"/>
                    </a:lnTo>
                    <a:lnTo>
                      <a:pt x="683" y="558"/>
                    </a:lnTo>
                    <a:lnTo>
                      <a:pt x="591" y="596"/>
                    </a:lnTo>
                    <a:lnTo>
                      <a:pt x="502" y="641"/>
                    </a:lnTo>
                    <a:lnTo>
                      <a:pt x="416" y="690"/>
                    </a:lnTo>
                    <a:lnTo>
                      <a:pt x="334" y="745"/>
                    </a:lnTo>
                    <a:lnTo>
                      <a:pt x="256" y="804"/>
                    </a:lnTo>
                    <a:lnTo>
                      <a:pt x="231" y="565"/>
                    </a:lnTo>
                    <a:lnTo>
                      <a:pt x="0" y="516"/>
                    </a:lnTo>
                    <a:lnTo>
                      <a:pt x="81" y="452"/>
                    </a:lnTo>
                    <a:lnTo>
                      <a:pt x="167" y="392"/>
                    </a:lnTo>
                    <a:lnTo>
                      <a:pt x="256" y="337"/>
                    </a:lnTo>
                    <a:lnTo>
                      <a:pt x="348" y="286"/>
                    </a:lnTo>
                    <a:lnTo>
                      <a:pt x="444" y="241"/>
                    </a:lnTo>
                    <a:lnTo>
                      <a:pt x="541" y="200"/>
                    </a:lnTo>
                    <a:lnTo>
                      <a:pt x="641" y="165"/>
                    </a:lnTo>
                    <a:lnTo>
                      <a:pt x="744" y="135"/>
                    </a:lnTo>
                    <a:lnTo>
                      <a:pt x="849" y="111"/>
                    </a:lnTo>
                    <a:lnTo>
                      <a:pt x="957" y="93"/>
                    </a:lnTo>
                    <a:lnTo>
                      <a:pt x="1066" y="81"/>
                    </a:lnTo>
                    <a:lnTo>
                      <a:pt x="1053" y="0"/>
                    </a:lnTo>
                    <a:lnTo>
                      <a:pt x="107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4" name="Freeform 8"/>
              <p:cNvSpPr>
                <a:spLocks/>
              </p:cNvSpPr>
              <p:nvPr/>
            </p:nvSpPr>
            <p:spPr bwMode="auto">
              <a:xfrm flipH="1" flipV="1">
                <a:off x="7027985" y="2391278"/>
                <a:ext cx="79898" cy="160532"/>
              </a:xfrm>
              <a:custGeom>
                <a:avLst/>
                <a:gdLst>
                  <a:gd name="T0" fmla="*/ 301 w 651"/>
                  <a:gd name="T1" fmla="*/ 0 h 1305"/>
                  <a:gd name="T2" fmla="*/ 546 w 651"/>
                  <a:gd name="T3" fmla="*/ 236 h 1305"/>
                  <a:gd name="T4" fmla="*/ 543 w 651"/>
                  <a:gd name="T5" fmla="*/ 254 h 1305"/>
                  <a:gd name="T6" fmla="*/ 465 w 651"/>
                  <a:gd name="T7" fmla="*/ 232 h 1305"/>
                  <a:gd name="T8" fmla="*/ 462 w 651"/>
                  <a:gd name="T9" fmla="*/ 295 h 1305"/>
                  <a:gd name="T10" fmla="*/ 461 w 651"/>
                  <a:gd name="T11" fmla="*/ 360 h 1305"/>
                  <a:gd name="T12" fmla="*/ 463 w 651"/>
                  <a:gd name="T13" fmla="*/ 461 h 1305"/>
                  <a:gd name="T14" fmla="*/ 473 w 651"/>
                  <a:gd name="T15" fmla="*/ 559 h 1305"/>
                  <a:gd name="T16" fmla="*/ 488 w 651"/>
                  <a:gd name="T17" fmla="*/ 656 h 1305"/>
                  <a:gd name="T18" fmla="*/ 510 w 651"/>
                  <a:gd name="T19" fmla="*/ 751 h 1305"/>
                  <a:gd name="T20" fmla="*/ 537 w 651"/>
                  <a:gd name="T21" fmla="*/ 843 h 1305"/>
                  <a:gd name="T22" fmla="*/ 569 w 651"/>
                  <a:gd name="T23" fmla="*/ 931 h 1305"/>
                  <a:gd name="T24" fmla="*/ 608 w 651"/>
                  <a:gd name="T25" fmla="*/ 1019 h 1305"/>
                  <a:gd name="T26" fmla="*/ 651 w 651"/>
                  <a:gd name="T27" fmla="*/ 1103 h 1305"/>
                  <a:gd name="T28" fmla="*/ 412 w 651"/>
                  <a:gd name="T29" fmla="*/ 1086 h 1305"/>
                  <a:gd name="T30" fmla="*/ 322 w 651"/>
                  <a:gd name="T31" fmla="*/ 1305 h 1305"/>
                  <a:gd name="T32" fmla="*/ 273 w 651"/>
                  <a:gd name="T33" fmla="*/ 1211 h 1305"/>
                  <a:gd name="T34" fmla="*/ 227 w 651"/>
                  <a:gd name="T35" fmla="*/ 1114 h 1305"/>
                  <a:gd name="T36" fmla="*/ 188 w 651"/>
                  <a:gd name="T37" fmla="*/ 1013 h 1305"/>
                  <a:gd name="T38" fmla="*/ 154 w 651"/>
                  <a:gd name="T39" fmla="*/ 910 h 1305"/>
                  <a:gd name="T40" fmla="*/ 127 w 651"/>
                  <a:gd name="T41" fmla="*/ 805 h 1305"/>
                  <a:gd name="T42" fmla="*/ 104 w 651"/>
                  <a:gd name="T43" fmla="*/ 696 h 1305"/>
                  <a:gd name="T44" fmla="*/ 89 w 651"/>
                  <a:gd name="T45" fmla="*/ 587 h 1305"/>
                  <a:gd name="T46" fmla="*/ 78 w 651"/>
                  <a:gd name="T47" fmla="*/ 474 h 1305"/>
                  <a:gd name="T48" fmla="*/ 75 w 651"/>
                  <a:gd name="T49" fmla="*/ 360 h 1305"/>
                  <a:gd name="T50" fmla="*/ 78 w 651"/>
                  <a:gd name="T51" fmla="*/ 268 h 1305"/>
                  <a:gd name="T52" fmla="*/ 84 w 651"/>
                  <a:gd name="T53" fmla="*/ 177 h 1305"/>
                  <a:gd name="T54" fmla="*/ 0 w 651"/>
                  <a:gd name="T55" fmla="*/ 176 h 1305"/>
                  <a:gd name="T56" fmla="*/ 2 w 651"/>
                  <a:gd name="T57" fmla="*/ 158 h 1305"/>
                  <a:gd name="T58" fmla="*/ 301 w 651"/>
                  <a:gd name="T59" fmla="*/ 0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1" h="1305">
                    <a:moveTo>
                      <a:pt x="301" y="0"/>
                    </a:moveTo>
                    <a:lnTo>
                      <a:pt x="546" y="236"/>
                    </a:lnTo>
                    <a:lnTo>
                      <a:pt x="543" y="254"/>
                    </a:lnTo>
                    <a:lnTo>
                      <a:pt x="465" y="232"/>
                    </a:lnTo>
                    <a:lnTo>
                      <a:pt x="462" y="295"/>
                    </a:lnTo>
                    <a:lnTo>
                      <a:pt x="461" y="360"/>
                    </a:lnTo>
                    <a:lnTo>
                      <a:pt x="463" y="461"/>
                    </a:lnTo>
                    <a:lnTo>
                      <a:pt x="473" y="559"/>
                    </a:lnTo>
                    <a:lnTo>
                      <a:pt x="488" y="656"/>
                    </a:lnTo>
                    <a:lnTo>
                      <a:pt x="510" y="751"/>
                    </a:lnTo>
                    <a:lnTo>
                      <a:pt x="537" y="843"/>
                    </a:lnTo>
                    <a:lnTo>
                      <a:pt x="569" y="931"/>
                    </a:lnTo>
                    <a:lnTo>
                      <a:pt x="608" y="1019"/>
                    </a:lnTo>
                    <a:lnTo>
                      <a:pt x="651" y="1103"/>
                    </a:lnTo>
                    <a:lnTo>
                      <a:pt x="412" y="1086"/>
                    </a:lnTo>
                    <a:lnTo>
                      <a:pt x="322" y="1305"/>
                    </a:lnTo>
                    <a:lnTo>
                      <a:pt x="273" y="1211"/>
                    </a:lnTo>
                    <a:lnTo>
                      <a:pt x="227" y="1114"/>
                    </a:lnTo>
                    <a:lnTo>
                      <a:pt x="188" y="1013"/>
                    </a:lnTo>
                    <a:lnTo>
                      <a:pt x="154" y="910"/>
                    </a:lnTo>
                    <a:lnTo>
                      <a:pt x="127" y="805"/>
                    </a:lnTo>
                    <a:lnTo>
                      <a:pt x="104" y="696"/>
                    </a:lnTo>
                    <a:lnTo>
                      <a:pt x="89" y="587"/>
                    </a:lnTo>
                    <a:lnTo>
                      <a:pt x="78" y="474"/>
                    </a:lnTo>
                    <a:lnTo>
                      <a:pt x="75" y="360"/>
                    </a:lnTo>
                    <a:lnTo>
                      <a:pt x="78" y="268"/>
                    </a:lnTo>
                    <a:lnTo>
                      <a:pt x="84" y="177"/>
                    </a:lnTo>
                    <a:lnTo>
                      <a:pt x="0" y="176"/>
                    </a:lnTo>
                    <a:lnTo>
                      <a:pt x="2" y="158"/>
                    </a:lnTo>
                    <a:lnTo>
                      <a:pt x="3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5" name="Freeform 9"/>
              <p:cNvSpPr>
                <a:spLocks/>
              </p:cNvSpPr>
              <p:nvPr/>
            </p:nvSpPr>
            <p:spPr bwMode="auto">
              <a:xfrm flipH="1" flipV="1">
                <a:off x="6658245" y="2282372"/>
                <a:ext cx="139390" cy="126607"/>
              </a:xfrm>
              <a:custGeom>
                <a:avLst/>
                <a:gdLst>
                  <a:gd name="T0" fmla="*/ 788 w 1133"/>
                  <a:gd name="T1" fmla="*/ 0 h 1029"/>
                  <a:gd name="T2" fmla="*/ 888 w 1133"/>
                  <a:gd name="T3" fmla="*/ 206 h 1029"/>
                  <a:gd name="T4" fmla="*/ 1133 w 1133"/>
                  <a:gd name="T5" fmla="*/ 173 h 1029"/>
                  <a:gd name="T6" fmla="*/ 1076 w 1133"/>
                  <a:gd name="T7" fmla="*/ 264 h 1029"/>
                  <a:gd name="T8" fmla="*/ 1014 w 1133"/>
                  <a:gd name="T9" fmla="*/ 353 h 1029"/>
                  <a:gd name="T10" fmla="*/ 947 w 1133"/>
                  <a:gd name="T11" fmla="*/ 436 h 1029"/>
                  <a:gd name="T12" fmla="*/ 875 w 1133"/>
                  <a:gd name="T13" fmla="*/ 517 h 1029"/>
                  <a:gd name="T14" fmla="*/ 799 w 1133"/>
                  <a:gd name="T15" fmla="*/ 593 h 1029"/>
                  <a:gd name="T16" fmla="*/ 721 w 1133"/>
                  <a:gd name="T17" fmla="*/ 665 h 1029"/>
                  <a:gd name="T18" fmla="*/ 636 w 1133"/>
                  <a:gd name="T19" fmla="*/ 732 h 1029"/>
                  <a:gd name="T20" fmla="*/ 548 w 1133"/>
                  <a:gd name="T21" fmla="*/ 796 h 1029"/>
                  <a:gd name="T22" fmla="*/ 457 w 1133"/>
                  <a:gd name="T23" fmla="*/ 853 h 1029"/>
                  <a:gd name="T24" fmla="*/ 363 w 1133"/>
                  <a:gd name="T25" fmla="*/ 906 h 1029"/>
                  <a:gd name="T26" fmla="*/ 266 w 1133"/>
                  <a:gd name="T27" fmla="*/ 954 h 1029"/>
                  <a:gd name="T28" fmla="*/ 304 w 1133"/>
                  <a:gd name="T29" fmla="*/ 1022 h 1029"/>
                  <a:gd name="T30" fmla="*/ 287 w 1133"/>
                  <a:gd name="T31" fmla="*/ 1029 h 1029"/>
                  <a:gd name="T32" fmla="*/ 0 w 1133"/>
                  <a:gd name="T33" fmla="*/ 850 h 1029"/>
                  <a:gd name="T34" fmla="*/ 83 w 1133"/>
                  <a:gd name="T35" fmla="*/ 520 h 1029"/>
                  <a:gd name="T36" fmla="*/ 100 w 1133"/>
                  <a:gd name="T37" fmla="*/ 513 h 1029"/>
                  <a:gd name="T38" fmla="*/ 121 w 1133"/>
                  <a:gd name="T39" fmla="*/ 596 h 1029"/>
                  <a:gd name="T40" fmla="*/ 211 w 1133"/>
                  <a:gd name="T41" fmla="*/ 550 h 1029"/>
                  <a:gd name="T42" fmla="*/ 298 w 1133"/>
                  <a:gd name="T43" fmla="*/ 499 h 1029"/>
                  <a:gd name="T44" fmla="*/ 382 w 1133"/>
                  <a:gd name="T45" fmla="*/ 442 h 1029"/>
                  <a:gd name="T46" fmla="*/ 461 w 1133"/>
                  <a:gd name="T47" fmla="*/ 380 h 1029"/>
                  <a:gd name="T48" fmla="*/ 536 w 1133"/>
                  <a:gd name="T49" fmla="*/ 313 h 1029"/>
                  <a:gd name="T50" fmla="*/ 606 w 1133"/>
                  <a:gd name="T51" fmla="*/ 241 h 1029"/>
                  <a:gd name="T52" fmla="*/ 671 w 1133"/>
                  <a:gd name="T53" fmla="*/ 165 h 1029"/>
                  <a:gd name="T54" fmla="*/ 733 w 1133"/>
                  <a:gd name="T55" fmla="*/ 84 h 1029"/>
                  <a:gd name="T56" fmla="*/ 788 w 1133"/>
                  <a:gd name="T5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3" h="1029">
                    <a:moveTo>
                      <a:pt x="788" y="0"/>
                    </a:moveTo>
                    <a:lnTo>
                      <a:pt x="888" y="206"/>
                    </a:lnTo>
                    <a:lnTo>
                      <a:pt x="1133" y="173"/>
                    </a:lnTo>
                    <a:lnTo>
                      <a:pt x="1076" y="264"/>
                    </a:lnTo>
                    <a:lnTo>
                      <a:pt x="1014" y="353"/>
                    </a:lnTo>
                    <a:lnTo>
                      <a:pt x="947" y="436"/>
                    </a:lnTo>
                    <a:lnTo>
                      <a:pt x="875" y="517"/>
                    </a:lnTo>
                    <a:lnTo>
                      <a:pt x="799" y="593"/>
                    </a:lnTo>
                    <a:lnTo>
                      <a:pt x="721" y="665"/>
                    </a:lnTo>
                    <a:lnTo>
                      <a:pt x="636" y="732"/>
                    </a:lnTo>
                    <a:lnTo>
                      <a:pt x="548" y="796"/>
                    </a:lnTo>
                    <a:lnTo>
                      <a:pt x="457" y="853"/>
                    </a:lnTo>
                    <a:lnTo>
                      <a:pt x="363" y="906"/>
                    </a:lnTo>
                    <a:lnTo>
                      <a:pt x="266" y="954"/>
                    </a:lnTo>
                    <a:lnTo>
                      <a:pt x="304" y="1022"/>
                    </a:lnTo>
                    <a:lnTo>
                      <a:pt x="287" y="1029"/>
                    </a:lnTo>
                    <a:lnTo>
                      <a:pt x="0" y="850"/>
                    </a:lnTo>
                    <a:lnTo>
                      <a:pt x="83" y="520"/>
                    </a:lnTo>
                    <a:lnTo>
                      <a:pt x="100" y="513"/>
                    </a:lnTo>
                    <a:lnTo>
                      <a:pt x="121" y="596"/>
                    </a:lnTo>
                    <a:lnTo>
                      <a:pt x="211" y="550"/>
                    </a:lnTo>
                    <a:lnTo>
                      <a:pt x="298" y="499"/>
                    </a:lnTo>
                    <a:lnTo>
                      <a:pt x="382" y="442"/>
                    </a:lnTo>
                    <a:lnTo>
                      <a:pt x="461" y="380"/>
                    </a:lnTo>
                    <a:lnTo>
                      <a:pt x="536" y="313"/>
                    </a:lnTo>
                    <a:lnTo>
                      <a:pt x="606" y="241"/>
                    </a:lnTo>
                    <a:lnTo>
                      <a:pt x="671" y="165"/>
                    </a:lnTo>
                    <a:lnTo>
                      <a:pt x="733" y="84"/>
                    </a:lnTo>
                    <a:lnTo>
                      <a:pt x="78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6" name="Freeform 10"/>
              <p:cNvSpPr>
                <a:spLocks/>
              </p:cNvSpPr>
              <p:nvPr/>
            </p:nvSpPr>
            <p:spPr bwMode="auto">
              <a:xfrm flipH="1" flipV="1">
                <a:off x="6626040" y="2393982"/>
                <a:ext cx="75227" cy="153403"/>
              </a:xfrm>
              <a:custGeom>
                <a:avLst/>
                <a:gdLst>
                  <a:gd name="T0" fmla="*/ 585 w 612"/>
                  <a:gd name="T1" fmla="*/ 0 h 1248"/>
                  <a:gd name="T2" fmla="*/ 601 w 612"/>
                  <a:gd name="T3" fmla="*/ 108 h 1248"/>
                  <a:gd name="T4" fmla="*/ 610 w 612"/>
                  <a:gd name="T5" fmla="*/ 216 h 1248"/>
                  <a:gd name="T6" fmla="*/ 612 w 612"/>
                  <a:gd name="T7" fmla="*/ 326 h 1248"/>
                  <a:gd name="T8" fmla="*/ 610 w 612"/>
                  <a:gd name="T9" fmla="*/ 438 h 1248"/>
                  <a:gd name="T10" fmla="*/ 601 w 612"/>
                  <a:gd name="T11" fmla="*/ 547 h 1248"/>
                  <a:gd name="T12" fmla="*/ 585 w 612"/>
                  <a:gd name="T13" fmla="*/ 654 h 1248"/>
                  <a:gd name="T14" fmla="*/ 563 w 612"/>
                  <a:gd name="T15" fmla="*/ 761 h 1248"/>
                  <a:gd name="T16" fmla="*/ 537 w 612"/>
                  <a:gd name="T17" fmla="*/ 864 h 1248"/>
                  <a:gd name="T18" fmla="*/ 504 w 612"/>
                  <a:gd name="T19" fmla="*/ 965 h 1248"/>
                  <a:gd name="T20" fmla="*/ 467 w 612"/>
                  <a:gd name="T21" fmla="*/ 1064 h 1248"/>
                  <a:gd name="T22" fmla="*/ 423 w 612"/>
                  <a:gd name="T23" fmla="*/ 1160 h 1248"/>
                  <a:gd name="T24" fmla="*/ 492 w 612"/>
                  <a:gd name="T25" fmla="*/ 1186 h 1248"/>
                  <a:gd name="T26" fmla="*/ 483 w 612"/>
                  <a:gd name="T27" fmla="*/ 1202 h 1248"/>
                  <a:gd name="T28" fmla="*/ 149 w 612"/>
                  <a:gd name="T29" fmla="*/ 1248 h 1248"/>
                  <a:gd name="T30" fmla="*/ 0 w 612"/>
                  <a:gd name="T31" fmla="*/ 943 h 1248"/>
                  <a:gd name="T32" fmla="*/ 8 w 612"/>
                  <a:gd name="T33" fmla="*/ 927 h 1248"/>
                  <a:gd name="T34" fmla="*/ 82 w 612"/>
                  <a:gd name="T35" fmla="*/ 980 h 1248"/>
                  <a:gd name="T36" fmla="*/ 120 w 612"/>
                  <a:gd name="T37" fmla="*/ 894 h 1248"/>
                  <a:gd name="T38" fmla="*/ 152 w 612"/>
                  <a:gd name="T39" fmla="*/ 804 h 1248"/>
                  <a:gd name="T40" fmla="*/ 178 w 612"/>
                  <a:gd name="T41" fmla="*/ 713 h 1248"/>
                  <a:gd name="T42" fmla="*/ 200 w 612"/>
                  <a:gd name="T43" fmla="*/ 620 h 1248"/>
                  <a:gd name="T44" fmla="*/ 215 w 612"/>
                  <a:gd name="T45" fmla="*/ 524 h 1248"/>
                  <a:gd name="T46" fmla="*/ 225 w 612"/>
                  <a:gd name="T47" fmla="*/ 426 h 1248"/>
                  <a:gd name="T48" fmla="*/ 227 w 612"/>
                  <a:gd name="T49" fmla="*/ 326 h 1248"/>
                  <a:gd name="T50" fmla="*/ 226 w 612"/>
                  <a:gd name="T51" fmla="*/ 247 h 1248"/>
                  <a:gd name="T52" fmla="*/ 220 w 612"/>
                  <a:gd name="T53" fmla="*/ 168 h 1248"/>
                  <a:gd name="T54" fmla="*/ 209 w 612"/>
                  <a:gd name="T55" fmla="*/ 91 h 1248"/>
                  <a:gd name="T56" fmla="*/ 420 w 612"/>
                  <a:gd name="T57" fmla="*/ 185 h 1248"/>
                  <a:gd name="T58" fmla="*/ 585 w 612"/>
                  <a:gd name="T59" fmla="*/ 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2" h="1248">
                    <a:moveTo>
                      <a:pt x="585" y="0"/>
                    </a:moveTo>
                    <a:lnTo>
                      <a:pt x="601" y="108"/>
                    </a:lnTo>
                    <a:lnTo>
                      <a:pt x="610" y="216"/>
                    </a:lnTo>
                    <a:lnTo>
                      <a:pt x="612" y="326"/>
                    </a:lnTo>
                    <a:lnTo>
                      <a:pt x="610" y="438"/>
                    </a:lnTo>
                    <a:lnTo>
                      <a:pt x="601" y="547"/>
                    </a:lnTo>
                    <a:lnTo>
                      <a:pt x="585" y="654"/>
                    </a:lnTo>
                    <a:lnTo>
                      <a:pt x="563" y="761"/>
                    </a:lnTo>
                    <a:lnTo>
                      <a:pt x="537" y="864"/>
                    </a:lnTo>
                    <a:lnTo>
                      <a:pt x="504" y="965"/>
                    </a:lnTo>
                    <a:lnTo>
                      <a:pt x="467" y="1064"/>
                    </a:lnTo>
                    <a:lnTo>
                      <a:pt x="423" y="1160"/>
                    </a:lnTo>
                    <a:lnTo>
                      <a:pt x="492" y="1186"/>
                    </a:lnTo>
                    <a:lnTo>
                      <a:pt x="483" y="1202"/>
                    </a:lnTo>
                    <a:lnTo>
                      <a:pt x="149" y="1248"/>
                    </a:lnTo>
                    <a:lnTo>
                      <a:pt x="0" y="943"/>
                    </a:lnTo>
                    <a:lnTo>
                      <a:pt x="8" y="927"/>
                    </a:lnTo>
                    <a:lnTo>
                      <a:pt x="82" y="980"/>
                    </a:lnTo>
                    <a:lnTo>
                      <a:pt x="120" y="894"/>
                    </a:lnTo>
                    <a:lnTo>
                      <a:pt x="152" y="804"/>
                    </a:lnTo>
                    <a:lnTo>
                      <a:pt x="178" y="713"/>
                    </a:lnTo>
                    <a:lnTo>
                      <a:pt x="200" y="620"/>
                    </a:lnTo>
                    <a:lnTo>
                      <a:pt x="215" y="524"/>
                    </a:lnTo>
                    <a:lnTo>
                      <a:pt x="225" y="426"/>
                    </a:lnTo>
                    <a:lnTo>
                      <a:pt x="227" y="326"/>
                    </a:lnTo>
                    <a:lnTo>
                      <a:pt x="226" y="247"/>
                    </a:lnTo>
                    <a:lnTo>
                      <a:pt x="220" y="168"/>
                    </a:lnTo>
                    <a:lnTo>
                      <a:pt x="209" y="91"/>
                    </a:lnTo>
                    <a:lnTo>
                      <a:pt x="420" y="185"/>
                    </a:lnTo>
                    <a:lnTo>
                      <a:pt x="58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7" name="Freeform 11"/>
              <p:cNvSpPr>
                <a:spLocks/>
              </p:cNvSpPr>
              <p:nvPr/>
            </p:nvSpPr>
            <p:spPr bwMode="auto">
              <a:xfrm flipH="1" flipV="1">
                <a:off x="6930879" y="2285814"/>
                <a:ext cx="135949" cy="122427"/>
              </a:xfrm>
              <a:custGeom>
                <a:avLst/>
                <a:gdLst>
                  <a:gd name="T0" fmla="*/ 127 w 1105"/>
                  <a:gd name="T1" fmla="*/ 0 h 996"/>
                  <a:gd name="T2" fmla="*/ 465 w 1105"/>
                  <a:gd name="T3" fmla="*/ 24 h 996"/>
                  <a:gd name="T4" fmla="*/ 475 w 1105"/>
                  <a:gd name="T5" fmla="*/ 40 h 996"/>
                  <a:gd name="T6" fmla="*/ 402 w 1105"/>
                  <a:gd name="T7" fmla="*/ 74 h 996"/>
                  <a:gd name="T8" fmla="*/ 462 w 1105"/>
                  <a:gd name="T9" fmla="*/ 154 h 996"/>
                  <a:gd name="T10" fmla="*/ 527 w 1105"/>
                  <a:gd name="T11" fmla="*/ 230 h 996"/>
                  <a:gd name="T12" fmla="*/ 598 w 1105"/>
                  <a:gd name="T13" fmla="*/ 302 h 996"/>
                  <a:gd name="T14" fmla="*/ 672 w 1105"/>
                  <a:gd name="T15" fmla="*/ 369 h 996"/>
                  <a:gd name="T16" fmla="*/ 751 w 1105"/>
                  <a:gd name="T17" fmla="*/ 433 h 996"/>
                  <a:gd name="T18" fmla="*/ 834 w 1105"/>
                  <a:gd name="T19" fmla="*/ 490 h 996"/>
                  <a:gd name="T20" fmla="*/ 921 w 1105"/>
                  <a:gd name="T21" fmla="*/ 542 h 996"/>
                  <a:gd name="T22" fmla="*/ 1011 w 1105"/>
                  <a:gd name="T23" fmla="*/ 587 h 996"/>
                  <a:gd name="T24" fmla="*/ 1105 w 1105"/>
                  <a:gd name="T25" fmla="*/ 628 h 996"/>
                  <a:gd name="T26" fmla="*/ 914 w 1105"/>
                  <a:gd name="T27" fmla="*/ 767 h 996"/>
                  <a:gd name="T28" fmla="*/ 988 w 1105"/>
                  <a:gd name="T29" fmla="*/ 996 h 996"/>
                  <a:gd name="T30" fmla="*/ 887 w 1105"/>
                  <a:gd name="T31" fmla="*/ 955 h 996"/>
                  <a:gd name="T32" fmla="*/ 789 w 1105"/>
                  <a:gd name="T33" fmla="*/ 908 h 996"/>
                  <a:gd name="T34" fmla="*/ 695 w 1105"/>
                  <a:gd name="T35" fmla="*/ 857 h 996"/>
                  <a:gd name="T36" fmla="*/ 604 w 1105"/>
                  <a:gd name="T37" fmla="*/ 799 h 996"/>
                  <a:gd name="T38" fmla="*/ 517 w 1105"/>
                  <a:gd name="T39" fmla="*/ 738 h 996"/>
                  <a:gd name="T40" fmla="*/ 433 w 1105"/>
                  <a:gd name="T41" fmla="*/ 671 h 996"/>
                  <a:gd name="T42" fmla="*/ 353 w 1105"/>
                  <a:gd name="T43" fmla="*/ 601 h 996"/>
                  <a:gd name="T44" fmla="*/ 276 w 1105"/>
                  <a:gd name="T45" fmla="*/ 526 h 996"/>
                  <a:gd name="T46" fmla="*/ 204 w 1105"/>
                  <a:gd name="T47" fmla="*/ 446 h 996"/>
                  <a:gd name="T48" fmla="*/ 137 w 1105"/>
                  <a:gd name="T49" fmla="*/ 363 h 996"/>
                  <a:gd name="T50" fmla="*/ 74 w 1105"/>
                  <a:gd name="T51" fmla="*/ 276 h 996"/>
                  <a:gd name="T52" fmla="*/ 9 w 1105"/>
                  <a:gd name="T53" fmla="*/ 330 h 996"/>
                  <a:gd name="T54" fmla="*/ 0 w 1105"/>
                  <a:gd name="T55" fmla="*/ 314 h 996"/>
                  <a:gd name="T56" fmla="*/ 127 w 1105"/>
                  <a:gd name="T57"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5" h="996">
                    <a:moveTo>
                      <a:pt x="127" y="0"/>
                    </a:moveTo>
                    <a:lnTo>
                      <a:pt x="465" y="24"/>
                    </a:lnTo>
                    <a:lnTo>
                      <a:pt x="475" y="40"/>
                    </a:lnTo>
                    <a:lnTo>
                      <a:pt x="402" y="74"/>
                    </a:lnTo>
                    <a:lnTo>
                      <a:pt x="462" y="154"/>
                    </a:lnTo>
                    <a:lnTo>
                      <a:pt x="527" y="230"/>
                    </a:lnTo>
                    <a:lnTo>
                      <a:pt x="598" y="302"/>
                    </a:lnTo>
                    <a:lnTo>
                      <a:pt x="672" y="369"/>
                    </a:lnTo>
                    <a:lnTo>
                      <a:pt x="751" y="433"/>
                    </a:lnTo>
                    <a:lnTo>
                      <a:pt x="834" y="490"/>
                    </a:lnTo>
                    <a:lnTo>
                      <a:pt x="921" y="542"/>
                    </a:lnTo>
                    <a:lnTo>
                      <a:pt x="1011" y="587"/>
                    </a:lnTo>
                    <a:lnTo>
                      <a:pt x="1105" y="628"/>
                    </a:lnTo>
                    <a:lnTo>
                      <a:pt x="914" y="767"/>
                    </a:lnTo>
                    <a:lnTo>
                      <a:pt x="988" y="996"/>
                    </a:lnTo>
                    <a:lnTo>
                      <a:pt x="887" y="955"/>
                    </a:lnTo>
                    <a:lnTo>
                      <a:pt x="789" y="908"/>
                    </a:lnTo>
                    <a:lnTo>
                      <a:pt x="695" y="857"/>
                    </a:lnTo>
                    <a:lnTo>
                      <a:pt x="604" y="799"/>
                    </a:lnTo>
                    <a:lnTo>
                      <a:pt x="517" y="738"/>
                    </a:lnTo>
                    <a:lnTo>
                      <a:pt x="433" y="671"/>
                    </a:lnTo>
                    <a:lnTo>
                      <a:pt x="353" y="601"/>
                    </a:lnTo>
                    <a:lnTo>
                      <a:pt x="276" y="526"/>
                    </a:lnTo>
                    <a:lnTo>
                      <a:pt x="204" y="446"/>
                    </a:lnTo>
                    <a:lnTo>
                      <a:pt x="137" y="363"/>
                    </a:lnTo>
                    <a:lnTo>
                      <a:pt x="74" y="276"/>
                    </a:lnTo>
                    <a:lnTo>
                      <a:pt x="9" y="330"/>
                    </a:lnTo>
                    <a:lnTo>
                      <a:pt x="0" y="314"/>
                    </a:lnTo>
                    <a:lnTo>
                      <a:pt x="12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8" name="Freeform 12"/>
              <p:cNvSpPr>
                <a:spLocks/>
              </p:cNvSpPr>
              <p:nvPr/>
            </p:nvSpPr>
            <p:spPr bwMode="auto">
              <a:xfrm flipH="1" flipV="1">
                <a:off x="6783376" y="2270080"/>
                <a:ext cx="159549" cy="64901"/>
              </a:xfrm>
              <a:custGeom>
                <a:avLst/>
                <a:gdLst>
                  <a:gd name="T0" fmla="*/ 274 w 1298"/>
                  <a:gd name="T1" fmla="*/ 0 h 527"/>
                  <a:gd name="T2" fmla="*/ 291 w 1298"/>
                  <a:gd name="T3" fmla="*/ 6 h 527"/>
                  <a:gd name="T4" fmla="*/ 255 w 1298"/>
                  <a:gd name="T5" fmla="*/ 83 h 527"/>
                  <a:gd name="T6" fmla="*/ 352 w 1298"/>
                  <a:gd name="T7" fmla="*/ 105 h 527"/>
                  <a:gd name="T8" fmla="*/ 451 w 1298"/>
                  <a:gd name="T9" fmla="*/ 122 h 527"/>
                  <a:gd name="T10" fmla="*/ 553 w 1298"/>
                  <a:gd name="T11" fmla="*/ 133 h 527"/>
                  <a:gd name="T12" fmla="*/ 656 w 1298"/>
                  <a:gd name="T13" fmla="*/ 137 h 527"/>
                  <a:gd name="T14" fmla="*/ 758 w 1298"/>
                  <a:gd name="T15" fmla="*/ 133 h 527"/>
                  <a:gd name="T16" fmla="*/ 858 w 1298"/>
                  <a:gd name="T17" fmla="*/ 123 h 527"/>
                  <a:gd name="T18" fmla="*/ 957 w 1298"/>
                  <a:gd name="T19" fmla="*/ 107 h 527"/>
                  <a:gd name="T20" fmla="*/ 1053 w 1298"/>
                  <a:gd name="T21" fmla="*/ 84 h 527"/>
                  <a:gd name="T22" fmla="*/ 1148 w 1298"/>
                  <a:gd name="T23" fmla="*/ 56 h 527"/>
                  <a:gd name="T24" fmla="*/ 1091 w 1298"/>
                  <a:gd name="T25" fmla="*/ 281 h 527"/>
                  <a:gd name="T26" fmla="*/ 1298 w 1298"/>
                  <a:gd name="T27" fmla="*/ 411 h 527"/>
                  <a:gd name="T28" fmla="*/ 1197 w 1298"/>
                  <a:gd name="T29" fmla="*/ 444 h 527"/>
                  <a:gd name="T30" fmla="*/ 1093 w 1298"/>
                  <a:gd name="T31" fmla="*/ 472 h 527"/>
                  <a:gd name="T32" fmla="*/ 986 w 1298"/>
                  <a:gd name="T33" fmla="*/ 493 h 527"/>
                  <a:gd name="T34" fmla="*/ 877 w 1298"/>
                  <a:gd name="T35" fmla="*/ 509 h 527"/>
                  <a:gd name="T36" fmla="*/ 767 w 1298"/>
                  <a:gd name="T37" fmla="*/ 519 h 527"/>
                  <a:gd name="T38" fmla="*/ 656 w 1298"/>
                  <a:gd name="T39" fmla="*/ 521 h 527"/>
                  <a:gd name="T40" fmla="*/ 548 w 1298"/>
                  <a:gd name="T41" fmla="*/ 519 h 527"/>
                  <a:gd name="T42" fmla="*/ 443 w 1298"/>
                  <a:gd name="T43" fmla="*/ 510 h 527"/>
                  <a:gd name="T44" fmla="*/ 339 w 1298"/>
                  <a:gd name="T45" fmla="*/ 495 h 527"/>
                  <a:gd name="T46" fmla="*/ 236 w 1298"/>
                  <a:gd name="T47" fmla="*/ 475 h 527"/>
                  <a:gd name="T48" fmla="*/ 137 w 1298"/>
                  <a:gd name="T49" fmla="*/ 450 h 527"/>
                  <a:gd name="T50" fmla="*/ 121 w 1298"/>
                  <a:gd name="T51" fmla="*/ 527 h 527"/>
                  <a:gd name="T52" fmla="*/ 104 w 1298"/>
                  <a:gd name="T53" fmla="*/ 522 h 527"/>
                  <a:gd name="T54" fmla="*/ 0 w 1298"/>
                  <a:gd name="T55" fmla="*/ 200 h 527"/>
                  <a:gd name="T56" fmla="*/ 274 w 1298"/>
                  <a:gd name="T57"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98" h="527">
                    <a:moveTo>
                      <a:pt x="274" y="0"/>
                    </a:moveTo>
                    <a:lnTo>
                      <a:pt x="291" y="6"/>
                    </a:lnTo>
                    <a:lnTo>
                      <a:pt x="255" y="83"/>
                    </a:lnTo>
                    <a:lnTo>
                      <a:pt x="352" y="105"/>
                    </a:lnTo>
                    <a:lnTo>
                      <a:pt x="451" y="122"/>
                    </a:lnTo>
                    <a:lnTo>
                      <a:pt x="553" y="133"/>
                    </a:lnTo>
                    <a:lnTo>
                      <a:pt x="656" y="137"/>
                    </a:lnTo>
                    <a:lnTo>
                      <a:pt x="758" y="133"/>
                    </a:lnTo>
                    <a:lnTo>
                      <a:pt x="858" y="123"/>
                    </a:lnTo>
                    <a:lnTo>
                      <a:pt x="957" y="107"/>
                    </a:lnTo>
                    <a:lnTo>
                      <a:pt x="1053" y="84"/>
                    </a:lnTo>
                    <a:lnTo>
                      <a:pt x="1148" y="56"/>
                    </a:lnTo>
                    <a:lnTo>
                      <a:pt x="1091" y="281"/>
                    </a:lnTo>
                    <a:lnTo>
                      <a:pt x="1298" y="411"/>
                    </a:lnTo>
                    <a:lnTo>
                      <a:pt x="1197" y="444"/>
                    </a:lnTo>
                    <a:lnTo>
                      <a:pt x="1093" y="472"/>
                    </a:lnTo>
                    <a:lnTo>
                      <a:pt x="986" y="493"/>
                    </a:lnTo>
                    <a:lnTo>
                      <a:pt x="877" y="509"/>
                    </a:lnTo>
                    <a:lnTo>
                      <a:pt x="767" y="519"/>
                    </a:lnTo>
                    <a:lnTo>
                      <a:pt x="656" y="521"/>
                    </a:lnTo>
                    <a:lnTo>
                      <a:pt x="548" y="519"/>
                    </a:lnTo>
                    <a:lnTo>
                      <a:pt x="443" y="510"/>
                    </a:lnTo>
                    <a:lnTo>
                      <a:pt x="339" y="495"/>
                    </a:lnTo>
                    <a:lnTo>
                      <a:pt x="236" y="475"/>
                    </a:lnTo>
                    <a:lnTo>
                      <a:pt x="137" y="450"/>
                    </a:lnTo>
                    <a:lnTo>
                      <a:pt x="121" y="527"/>
                    </a:lnTo>
                    <a:lnTo>
                      <a:pt x="104" y="522"/>
                    </a:lnTo>
                    <a:lnTo>
                      <a:pt x="0" y="200"/>
                    </a:lnTo>
                    <a:lnTo>
                      <a:pt x="27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69" name="Freeform 13"/>
              <p:cNvSpPr>
                <a:spLocks/>
              </p:cNvSpPr>
              <p:nvPr/>
            </p:nvSpPr>
            <p:spPr bwMode="auto">
              <a:xfrm flipH="1" flipV="1">
                <a:off x="6624319" y="2537060"/>
                <a:ext cx="113823" cy="150945"/>
              </a:xfrm>
              <a:custGeom>
                <a:avLst/>
                <a:gdLst>
                  <a:gd name="T0" fmla="*/ 232 w 927"/>
                  <a:gd name="T1" fmla="*/ 0 h 1229"/>
                  <a:gd name="T2" fmla="*/ 311 w 927"/>
                  <a:gd name="T3" fmla="*/ 72 h 1229"/>
                  <a:gd name="T4" fmla="*/ 386 w 927"/>
                  <a:gd name="T5" fmla="*/ 148 h 1229"/>
                  <a:gd name="T6" fmla="*/ 458 w 927"/>
                  <a:gd name="T7" fmla="*/ 227 h 1229"/>
                  <a:gd name="T8" fmla="*/ 524 w 927"/>
                  <a:gd name="T9" fmla="*/ 309 h 1229"/>
                  <a:gd name="T10" fmla="*/ 586 w 927"/>
                  <a:gd name="T11" fmla="*/ 397 h 1229"/>
                  <a:gd name="T12" fmla="*/ 643 w 927"/>
                  <a:gd name="T13" fmla="*/ 488 h 1229"/>
                  <a:gd name="T14" fmla="*/ 695 w 927"/>
                  <a:gd name="T15" fmla="*/ 581 h 1229"/>
                  <a:gd name="T16" fmla="*/ 743 w 927"/>
                  <a:gd name="T17" fmla="*/ 678 h 1229"/>
                  <a:gd name="T18" fmla="*/ 784 w 927"/>
                  <a:gd name="T19" fmla="*/ 778 h 1229"/>
                  <a:gd name="T20" fmla="*/ 820 w 927"/>
                  <a:gd name="T21" fmla="*/ 881 h 1229"/>
                  <a:gd name="T22" fmla="*/ 850 w 927"/>
                  <a:gd name="T23" fmla="*/ 985 h 1229"/>
                  <a:gd name="T24" fmla="*/ 923 w 927"/>
                  <a:gd name="T25" fmla="*/ 961 h 1229"/>
                  <a:gd name="T26" fmla="*/ 927 w 927"/>
                  <a:gd name="T27" fmla="*/ 978 h 1229"/>
                  <a:gd name="T28" fmla="*/ 700 w 927"/>
                  <a:gd name="T29" fmla="*/ 1229 h 1229"/>
                  <a:gd name="T30" fmla="*/ 391 w 927"/>
                  <a:gd name="T31" fmla="*/ 1092 h 1229"/>
                  <a:gd name="T32" fmla="*/ 387 w 927"/>
                  <a:gd name="T33" fmla="*/ 1074 h 1229"/>
                  <a:gd name="T34" fmla="*/ 473 w 927"/>
                  <a:gd name="T35" fmla="*/ 1066 h 1229"/>
                  <a:gd name="T36" fmla="*/ 444 w 927"/>
                  <a:gd name="T37" fmla="*/ 968 h 1229"/>
                  <a:gd name="T38" fmla="*/ 408 w 927"/>
                  <a:gd name="T39" fmla="*/ 874 h 1229"/>
                  <a:gd name="T40" fmla="*/ 366 w 927"/>
                  <a:gd name="T41" fmla="*/ 781 h 1229"/>
                  <a:gd name="T42" fmla="*/ 318 w 927"/>
                  <a:gd name="T43" fmla="*/ 693 h 1229"/>
                  <a:gd name="T44" fmla="*/ 264 w 927"/>
                  <a:gd name="T45" fmla="*/ 608 h 1229"/>
                  <a:gd name="T46" fmla="*/ 205 w 927"/>
                  <a:gd name="T47" fmla="*/ 527 h 1229"/>
                  <a:gd name="T48" fmla="*/ 141 w 927"/>
                  <a:gd name="T49" fmla="*/ 450 h 1229"/>
                  <a:gd name="T50" fmla="*/ 73 w 927"/>
                  <a:gd name="T51" fmla="*/ 378 h 1229"/>
                  <a:gd name="T52" fmla="*/ 0 w 927"/>
                  <a:gd name="T53" fmla="*/ 309 h 1229"/>
                  <a:gd name="T54" fmla="*/ 223 w 927"/>
                  <a:gd name="T55" fmla="*/ 245 h 1229"/>
                  <a:gd name="T56" fmla="*/ 232 w 927"/>
                  <a:gd name="T57"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7" h="1229">
                    <a:moveTo>
                      <a:pt x="232" y="0"/>
                    </a:moveTo>
                    <a:lnTo>
                      <a:pt x="311" y="72"/>
                    </a:lnTo>
                    <a:lnTo>
                      <a:pt x="386" y="148"/>
                    </a:lnTo>
                    <a:lnTo>
                      <a:pt x="458" y="227"/>
                    </a:lnTo>
                    <a:lnTo>
                      <a:pt x="524" y="309"/>
                    </a:lnTo>
                    <a:lnTo>
                      <a:pt x="586" y="397"/>
                    </a:lnTo>
                    <a:lnTo>
                      <a:pt x="643" y="488"/>
                    </a:lnTo>
                    <a:lnTo>
                      <a:pt x="695" y="581"/>
                    </a:lnTo>
                    <a:lnTo>
                      <a:pt x="743" y="678"/>
                    </a:lnTo>
                    <a:lnTo>
                      <a:pt x="784" y="778"/>
                    </a:lnTo>
                    <a:lnTo>
                      <a:pt x="820" y="881"/>
                    </a:lnTo>
                    <a:lnTo>
                      <a:pt x="850" y="985"/>
                    </a:lnTo>
                    <a:lnTo>
                      <a:pt x="923" y="961"/>
                    </a:lnTo>
                    <a:lnTo>
                      <a:pt x="927" y="978"/>
                    </a:lnTo>
                    <a:lnTo>
                      <a:pt x="700" y="1229"/>
                    </a:lnTo>
                    <a:lnTo>
                      <a:pt x="391" y="1092"/>
                    </a:lnTo>
                    <a:lnTo>
                      <a:pt x="387" y="1074"/>
                    </a:lnTo>
                    <a:lnTo>
                      <a:pt x="473" y="1066"/>
                    </a:lnTo>
                    <a:lnTo>
                      <a:pt x="444" y="968"/>
                    </a:lnTo>
                    <a:lnTo>
                      <a:pt x="408" y="874"/>
                    </a:lnTo>
                    <a:lnTo>
                      <a:pt x="366" y="781"/>
                    </a:lnTo>
                    <a:lnTo>
                      <a:pt x="318" y="693"/>
                    </a:lnTo>
                    <a:lnTo>
                      <a:pt x="264" y="608"/>
                    </a:lnTo>
                    <a:lnTo>
                      <a:pt x="205" y="527"/>
                    </a:lnTo>
                    <a:lnTo>
                      <a:pt x="141" y="450"/>
                    </a:lnTo>
                    <a:lnTo>
                      <a:pt x="73" y="378"/>
                    </a:lnTo>
                    <a:lnTo>
                      <a:pt x="0" y="309"/>
                    </a:lnTo>
                    <a:lnTo>
                      <a:pt x="223" y="245"/>
                    </a:lnTo>
                    <a:lnTo>
                      <a:pt x="23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170" name="Freeform 14"/>
              <p:cNvSpPr>
                <a:spLocks/>
              </p:cNvSpPr>
              <p:nvPr/>
            </p:nvSpPr>
            <p:spPr bwMode="auto">
              <a:xfrm flipH="1" flipV="1">
                <a:off x="6718229" y="2653587"/>
                <a:ext cx="142832" cy="90468"/>
              </a:xfrm>
              <a:custGeom>
                <a:avLst/>
                <a:gdLst>
                  <a:gd name="T0" fmla="*/ 0 w 1162"/>
                  <a:gd name="T1" fmla="*/ 0 h 736"/>
                  <a:gd name="T2" fmla="*/ 113 w 1162"/>
                  <a:gd name="T3" fmla="*/ 4 h 736"/>
                  <a:gd name="T4" fmla="*/ 223 w 1162"/>
                  <a:gd name="T5" fmla="*/ 15 h 736"/>
                  <a:gd name="T6" fmla="*/ 331 w 1162"/>
                  <a:gd name="T7" fmla="*/ 30 h 736"/>
                  <a:gd name="T8" fmla="*/ 437 w 1162"/>
                  <a:gd name="T9" fmla="*/ 53 h 736"/>
                  <a:gd name="T10" fmla="*/ 541 w 1162"/>
                  <a:gd name="T11" fmla="*/ 81 h 736"/>
                  <a:gd name="T12" fmla="*/ 643 w 1162"/>
                  <a:gd name="T13" fmla="*/ 114 h 736"/>
                  <a:gd name="T14" fmla="*/ 741 w 1162"/>
                  <a:gd name="T15" fmla="*/ 152 h 736"/>
                  <a:gd name="T16" fmla="*/ 838 w 1162"/>
                  <a:gd name="T17" fmla="*/ 197 h 736"/>
                  <a:gd name="T18" fmla="*/ 931 w 1162"/>
                  <a:gd name="T19" fmla="*/ 246 h 736"/>
                  <a:gd name="T20" fmla="*/ 1021 w 1162"/>
                  <a:gd name="T21" fmla="*/ 300 h 736"/>
                  <a:gd name="T22" fmla="*/ 1108 w 1162"/>
                  <a:gd name="T23" fmla="*/ 360 h 736"/>
                  <a:gd name="T24" fmla="*/ 1148 w 1162"/>
                  <a:gd name="T25" fmla="*/ 293 h 736"/>
                  <a:gd name="T26" fmla="*/ 1162 w 1162"/>
                  <a:gd name="T27" fmla="*/ 303 h 736"/>
                  <a:gd name="T28" fmla="*/ 1150 w 1162"/>
                  <a:gd name="T29" fmla="*/ 642 h 736"/>
                  <a:gd name="T30" fmla="*/ 824 w 1162"/>
                  <a:gd name="T31" fmla="*/ 736 h 736"/>
                  <a:gd name="T32" fmla="*/ 810 w 1162"/>
                  <a:gd name="T33" fmla="*/ 725 h 736"/>
                  <a:gd name="T34" fmla="*/ 871 w 1162"/>
                  <a:gd name="T35" fmla="*/ 664 h 736"/>
                  <a:gd name="T36" fmla="*/ 789 w 1162"/>
                  <a:gd name="T37" fmla="*/ 609 h 736"/>
                  <a:gd name="T38" fmla="*/ 703 w 1162"/>
                  <a:gd name="T39" fmla="*/ 561 h 736"/>
                  <a:gd name="T40" fmla="*/ 612 w 1162"/>
                  <a:gd name="T41" fmla="*/ 517 h 736"/>
                  <a:gd name="T42" fmla="*/ 520 w 1162"/>
                  <a:gd name="T43" fmla="*/ 479 h 736"/>
                  <a:gd name="T44" fmla="*/ 424 w 1162"/>
                  <a:gd name="T45" fmla="*/ 448 h 736"/>
                  <a:gd name="T46" fmla="*/ 325 w 1162"/>
                  <a:gd name="T47" fmla="*/ 422 h 736"/>
                  <a:gd name="T48" fmla="*/ 224 w 1162"/>
                  <a:gd name="T49" fmla="*/ 404 h 736"/>
                  <a:gd name="T50" fmla="*/ 121 w 1162"/>
                  <a:gd name="T51" fmla="*/ 392 h 736"/>
                  <a:gd name="T52" fmla="*/ 16 w 1162"/>
                  <a:gd name="T53" fmla="*/ 386 h 736"/>
                  <a:gd name="T54" fmla="*/ 148 w 1162"/>
                  <a:gd name="T55" fmla="*/ 190 h 736"/>
                  <a:gd name="T56" fmla="*/ 0 w 1162"/>
                  <a:gd name="T57" fmla="*/ 0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2" h="736">
                    <a:moveTo>
                      <a:pt x="0" y="0"/>
                    </a:moveTo>
                    <a:lnTo>
                      <a:pt x="113" y="4"/>
                    </a:lnTo>
                    <a:lnTo>
                      <a:pt x="223" y="15"/>
                    </a:lnTo>
                    <a:lnTo>
                      <a:pt x="331" y="30"/>
                    </a:lnTo>
                    <a:lnTo>
                      <a:pt x="437" y="53"/>
                    </a:lnTo>
                    <a:lnTo>
                      <a:pt x="541" y="81"/>
                    </a:lnTo>
                    <a:lnTo>
                      <a:pt x="643" y="114"/>
                    </a:lnTo>
                    <a:lnTo>
                      <a:pt x="741" y="152"/>
                    </a:lnTo>
                    <a:lnTo>
                      <a:pt x="838" y="197"/>
                    </a:lnTo>
                    <a:lnTo>
                      <a:pt x="931" y="246"/>
                    </a:lnTo>
                    <a:lnTo>
                      <a:pt x="1021" y="300"/>
                    </a:lnTo>
                    <a:lnTo>
                      <a:pt x="1108" y="360"/>
                    </a:lnTo>
                    <a:lnTo>
                      <a:pt x="1148" y="293"/>
                    </a:lnTo>
                    <a:lnTo>
                      <a:pt x="1162" y="303"/>
                    </a:lnTo>
                    <a:lnTo>
                      <a:pt x="1150" y="642"/>
                    </a:lnTo>
                    <a:lnTo>
                      <a:pt x="824" y="736"/>
                    </a:lnTo>
                    <a:lnTo>
                      <a:pt x="810" y="725"/>
                    </a:lnTo>
                    <a:lnTo>
                      <a:pt x="871" y="664"/>
                    </a:lnTo>
                    <a:lnTo>
                      <a:pt x="789" y="609"/>
                    </a:lnTo>
                    <a:lnTo>
                      <a:pt x="703" y="561"/>
                    </a:lnTo>
                    <a:lnTo>
                      <a:pt x="612" y="517"/>
                    </a:lnTo>
                    <a:lnTo>
                      <a:pt x="520" y="479"/>
                    </a:lnTo>
                    <a:lnTo>
                      <a:pt x="424" y="448"/>
                    </a:lnTo>
                    <a:lnTo>
                      <a:pt x="325" y="422"/>
                    </a:lnTo>
                    <a:lnTo>
                      <a:pt x="224" y="404"/>
                    </a:lnTo>
                    <a:lnTo>
                      <a:pt x="121" y="392"/>
                    </a:lnTo>
                    <a:lnTo>
                      <a:pt x="16" y="386"/>
                    </a:lnTo>
                    <a:lnTo>
                      <a:pt x="148" y="19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1" name="Freeform 78"/>
            <p:cNvSpPr>
              <a:spLocks noEditPoints="1"/>
            </p:cNvSpPr>
            <p:nvPr/>
          </p:nvSpPr>
          <p:spPr bwMode="auto">
            <a:xfrm>
              <a:off x="11415209" y="4989023"/>
              <a:ext cx="245924" cy="338507"/>
            </a:xfrm>
            <a:custGeom>
              <a:avLst/>
              <a:gdLst>
                <a:gd name="T0" fmla="*/ 36 w 72"/>
                <a:gd name="T1" fmla="*/ 31 h 99"/>
                <a:gd name="T2" fmla="*/ 15 w 72"/>
                <a:gd name="T3" fmla="*/ 53 h 99"/>
                <a:gd name="T4" fmla="*/ 25 w 72"/>
                <a:gd name="T5" fmla="*/ 74 h 99"/>
                <a:gd name="T6" fmla="*/ 24 w 72"/>
                <a:gd name="T7" fmla="*/ 74 h 99"/>
                <a:gd name="T8" fmla="*/ 12 w 72"/>
                <a:gd name="T9" fmla="*/ 53 h 99"/>
                <a:gd name="T10" fmla="*/ 36 w 72"/>
                <a:gd name="T11" fmla="*/ 29 h 99"/>
                <a:gd name="T12" fmla="*/ 60 w 72"/>
                <a:gd name="T13" fmla="*/ 53 h 99"/>
                <a:gd name="T14" fmla="*/ 48 w 72"/>
                <a:gd name="T15" fmla="*/ 74 h 99"/>
                <a:gd name="T16" fmla="*/ 48 w 72"/>
                <a:gd name="T17" fmla="*/ 74 h 99"/>
                <a:gd name="T18" fmla="*/ 25 w 72"/>
                <a:gd name="T19" fmla="*/ 74 h 99"/>
                <a:gd name="T20" fmla="*/ 36 w 72"/>
                <a:gd name="T21" fmla="*/ 99 h 99"/>
                <a:gd name="T22" fmla="*/ 30 w 72"/>
                <a:gd name="T23" fmla="*/ 96 h 99"/>
                <a:gd name="T24" fmla="*/ 42 w 72"/>
                <a:gd name="T25" fmla="*/ 96 h 99"/>
                <a:gd name="T26" fmla="*/ 36 w 72"/>
                <a:gd name="T27" fmla="*/ 99 h 99"/>
                <a:gd name="T28" fmla="*/ 48 w 72"/>
                <a:gd name="T29" fmla="*/ 90 h 99"/>
                <a:gd name="T30" fmla="*/ 45 w 72"/>
                <a:gd name="T31" fmla="*/ 93 h 99"/>
                <a:gd name="T32" fmla="*/ 28 w 72"/>
                <a:gd name="T33" fmla="*/ 93 h 99"/>
                <a:gd name="T34" fmla="*/ 25 w 72"/>
                <a:gd name="T35" fmla="*/ 90 h 99"/>
                <a:gd name="T36" fmla="*/ 28 w 72"/>
                <a:gd name="T37" fmla="*/ 87 h 99"/>
                <a:gd name="T38" fmla="*/ 45 w 72"/>
                <a:gd name="T39" fmla="*/ 87 h 99"/>
                <a:gd name="T40" fmla="*/ 48 w 72"/>
                <a:gd name="T41" fmla="*/ 90 h 99"/>
                <a:gd name="T42" fmla="*/ 48 w 72"/>
                <a:gd name="T43" fmla="*/ 81 h 99"/>
                <a:gd name="T44" fmla="*/ 45 w 72"/>
                <a:gd name="T45" fmla="*/ 84 h 99"/>
                <a:gd name="T46" fmla="*/ 28 w 72"/>
                <a:gd name="T47" fmla="*/ 84 h 99"/>
                <a:gd name="T48" fmla="*/ 25 w 72"/>
                <a:gd name="T49" fmla="*/ 81 h 99"/>
                <a:gd name="T50" fmla="*/ 28 w 72"/>
                <a:gd name="T51" fmla="*/ 78 h 99"/>
                <a:gd name="T52" fmla="*/ 45 w 72"/>
                <a:gd name="T53" fmla="*/ 78 h 99"/>
                <a:gd name="T54" fmla="*/ 48 w 72"/>
                <a:gd name="T55" fmla="*/ 81 h 99"/>
                <a:gd name="T56" fmla="*/ 71 w 72"/>
                <a:gd name="T57" fmla="*/ 14 h 99"/>
                <a:gd name="T58" fmla="*/ 71 w 72"/>
                <a:gd name="T59" fmla="*/ 18 h 99"/>
                <a:gd name="T60" fmla="*/ 60 w 72"/>
                <a:gd name="T61" fmla="*/ 30 h 99"/>
                <a:gd name="T62" fmla="*/ 55 w 72"/>
                <a:gd name="T63" fmla="*/ 30 h 99"/>
                <a:gd name="T64" fmla="*/ 55 w 72"/>
                <a:gd name="T65" fmla="*/ 25 h 99"/>
                <a:gd name="T66" fmla="*/ 66 w 72"/>
                <a:gd name="T67" fmla="*/ 13 h 99"/>
                <a:gd name="T68" fmla="*/ 71 w 72"/>
                <a:gd name="T69" fmla="*/ 14 h 99"/>
                <a:gd name="T70" fmla="*/ 36 w 72"/>
                <a:gd name="T71" fmla="*/ 0 h 99"/>
                <a:gd name="T72" fmla="*/ 40 w 72"/>
                <a:gd name="T73" fmla="*/ 3 h 99"/>
                <a:gd name="T74" fmla="*/ 40 w 72"/>
                <a:gd name="T75" fmla="*/ 20 h 99"/>
                <a:gd name="T76" fmla="*/ 36 w 72"/>
                <a:gd name="T77" fmla="*/ 23 h 99"/>
                <a:gd name="T78" fmla="*/ 33 w 72"/>
                <a:gd name="T79" fmla="*/ 20 h 99"/>
                <a:gd name="T80" fmla="*/ 33 w 72"/>
                <a:gd name="T81" fmla="*/ 3 h 99"/>
                <a:gd name="T82" fmla="*/ 36 w 72"/>
                <a:gd name="T83" fmla="*/ 0 h 99"/>
                <a:gd name="T84" fmla="*/ 1 w 72"/>
                <a:gd name="T85" fmla="*/ 14 h 99"/>
                <a:gd name="T86" fmla="*/ 6 w 72"/>
                <a:gd name="T87" fmla="*/ 13 h 99"/>
                <a:gd name="T88" fmla="*/ 18 w 72"/>
                <a:gd name="T89" fmla="*/ 25 h 99"/>
                <a:gd name="T90" fmla="*/ 17 w 72"/>
                <a:gd name="T91" fmla="*/ 30 h 99"/>
                <a:gd name="T92" fmla="*/ 13 w 72"/>
                <a:gd name="T93" fmla="*/ 30 h 99"/>
                <a:gd name="T94" fmla="*/ 1 w 72"/>
                <a:gd name="T95" fmla="*/ 18 h 99"/>
                <a:gd name="T96" fmla="*/ 1 w 72"/>
                <a:gd name="T97" fmla="*/ 1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99">
                  <a:moveTo>
                    <a:pt x="36" y="31"/>
                  </a:moveTo>
                  <a:cubicBezTo>
                    <a:pt x="24" y="31"/>
                    <a:pt x="15" y="41"/>
                    <a:pt x="15" y="53"/>
                  </a:cubicBezTo>
                  <a:moveTo>
                    <a:pt x="25" y="74"/>
                  </a:moveTo>
                  <a:cubicBezTo>
                    <a:pt x="24" y="74"/>
                    <a:pt x="24" y="74"/>
                    <a:pt x="24" y="74"/>
                  </a:cubicBezTo>
                  <a:cubicBezTo>
                    <a:pt x="17" y="70"/>
                    <a:pt x="12" y="62"/>
                    <a:pt x="12" y="53"/>
                  </a:cubicBezTo>
                  <a:cubicBezTo>
                    <a:pt x="12" y="40"/>
                    <a:pt x="23" y="29"/>
                    <a:pt x="36" y="29"/>
                  </a:cubicBezTo>
                  <a:cubicBezTo>
                    <a:pt x="50" y="29"/>
                    <a:pt x="60" y="40"/>
                    <a:pt x="60" y="53"/>
                  </a:cubicBezTo>
                  <a:cubicBezTo>
                    <a:pt x="60" y="62"/>
                    <a:pt x="56" y="70"/>
                    <a:pt x="48" y="74"/>
                  </a:cubicBezTo>
                  <a:cubicBezTo>
                    <a:pt x="48" y="74"/>
                    <a:pt x="48" y="74"/>
                    <a:pt x="48" y="74"/>
                  </a:cubicBezTo>
                  <a:lnTo>
                    <a:pt x="25" y="74"/>
                  </a:lnTo>
                  <a:close/>
                  <a:moveTo>
                    <a:pt x="36" y="99"/>
                  </a:moveTo>
                  <a:cubicBezTo>
                    <a:pt x="34" y="99"/>
                    <a:pt x="32" y="98"/>
                    <a:pt x="30" y="96"/>
                  </a:cubicBezTo>
                  <a:cubicBezTo>
                    <a:pt x="42" y="96"/>
                    <a:pt x="42" y="96"/>
                    <a:pt x="42" y="96"/>
                  </a:cubicBezTo>
                  <a:cubicBezTo>
                    <a:pt x="41" y="98"/>
                    <a:pt x="39" y="99"/>
                    <a:pt x="36" y="99"/>
                  </a:cubicBezTo>
                  <a:moveTo>
                    <a:pt x="48" y="90"/>
                  </a:moveTo>
                  <a:cubicBezTo>
                    <a:pt x="48" y="92"/>
                    <a:pt x="46" y="93"/>
                    <a:pt x="45" y="93"/>
                  </a:cubicBezTo>
                  <a:cubicBezTo>
                    <a:pt x="28" y="93"/>
                    <a:pt x="28" y="93"/>
                    <a:pt x="28" y="93"/>
                  </a:cubicBezTo>
                  <a:cubicBezTo>
                    <a:pt x="26" y="93"/>
                    <a:pt x="25" y="92"/>
                    <a:pt x="25" y="90"/>
                  </a:cubicBezTo>
                  <a:cubicBezTo>
                    <a:pt x="25" y="88"/>
                    <a:pt x="26" y="87"/>
                    <a:pt x="28" y="87"/>
                  </a:cubicBezTo>
                  <a:cubicBezTo>
                    <a:pt x="45" y="87"/>
                    <a:pt x="45" y="87"/>
                    <a:pt x="45" y="87"/>
                  </a:cubicBezTo>
                  <a:cubicBezTo>
                    <a:pt x="46" y="87"/>
                    <a:pt x="48" y="88"/>
                    <a:pt x="48" y="90"/>
                  </a:cubicBezTo>
                  <a:moveTo>
                    <a:pt x="48" y="81"/>
                  </a:moveTo>
                  <a:cubicBezTo>
                    <a:pt x="48" y="83"/>
                    <a:pt x="46" y="84"/>
                    <a:pt x="45" y="84"/>
                  </a:cubicBezTo>
                  <a:cubicBezTo>
                    <a:pt x="28" y="84"/>
                    <a:pt x="28" y="84"/>
                    <a:pt x="28" y="84"/>
                  </a:cubicBezTo>
                  <a:cubicBezTo>
                    <a:pt x="26" y="84"/>
                    <a:pt x="25" y="83"/>
                    <a:pt x="25" y="81"/>
                  </a:cubicBezTo>
                  <a:cubicBezTo>
                    <a:pt x="25" y="79"/>
                    <a:pt x="26" y="78"/>
                    <a:pt x="28" y="78"/>
                  </a:cubicBezTo>
                  <a:cubicBezTo>
                    <a:pt x="45" y="78"/>
                    <a:pt x="45" y="78"/>
                    <a:pt x="45" y="78"/>
                  </a:cubicBezTo>
                  <a:cubicBezTo>
                    <a:pt x="46" y="78"/>
                    <a:pt x="48" y="79"/>
                    <a:pt x="48" y="81"/>
                  </a:cubicBezTo>
                  <a:moveTo>
                    <a:pt x="71" y="14"/>
                  </a:moveTo>
                  <a:cubicBezTo>
                    <a:pt x="72" y="15"/>
                    <a:pt x="72" y="17"/>
                    <a:pt x="71" y="18"/>
                  </a:cubicBezTo>
                  <a:cubicBezTo>
                    <a:pt x="60" y="30"/>
                    <a:pt x="60" y="30"/>
                    <a:pt x="60" y="30"/>
                  </a:cubicBezTo>
                  <a:cubicBezTo>
                    <a:pt x="58" y="31"/>
                    <a:pt x="56" y="31"/>
                    <a:pt x="55" y="30"/>
                  </a:cubicBezTo>
                  <a:cubicBezTo>
                    <a:pt x="54" y="28"/>
                    <a:pt x="54" y="26"/>
                    <a:pt x="55" y="25"/>
                  </a:cubicBezTo>
                  <a:cubicBezTo>
                    <a:pt x="66" y="13"/>
                    <a:pt x="66" y="13"/>
                    <a:pt x="66" y="13"/>
                  </a:cubicBezTo>
                  <a:cubicBezTo>
                    <a:pt x="68" y="12"/>
                    <a:pt x="70" y="12"/>
                    <a:pt x="71" y="14"/>
                  </a:cubicBezTo>
                  <a:moveTo>
                    <a:pt x="36" y="0"/>
                  </a:moveTo>
                  <a:cubicBezTo>
                    <a:pt x="38" y="0"/>
                    <a:pt x="40" y="2"/>
                    <a:pt x="40" y="3"/>
                  </a:cubicBezTo>
                  <a:cubicBezTo>
                    <a:pt x="40" y="20"/>
                    <a:pt x="40" y="20"/>
                    <a:pt x="40" y="20"/>
                  </a:cubicBezTo>
                  <a:cubicBezTo>
                    <a:pt x="40" y="21"/>
                    <a:pt x="38" y="23"/>
                    <a:pt x="36" y="23"/>
                  </a:cubicBezTo>
                  <a:cubicBezTo>
                    <a:pt x="35" y="23"/>
                    <a:pt x="33" y="22"/>
                    <a:pt x="33" y="20"/>
                  </a:cubicBezTo>
                  <a:cubicBezTo>
                    <a:pt x="33" y="3"/>
                    <a:pt x="33" y="3"/>
                    <a:pt x="33" y="3"/>
                  </a:cubicBezTo>
                  <a:cubicBezTo>
                    <a:pt x="33" y="2"/>
                    <a:pt x="34" y="0"/>
                    <a:pt x="36" y="0"/>
                  </a:cubicBezTo>
                  <a:moveTo>
                    <a:pt x="1" y="14"/>
                  </a:moveTo>
                  <a:cubicBezTo>
                    <a:pt x="3" y="12"/>
                    <a:pt x="5" y="12"/>
                    <a:pt x="6" y="13"/>
                  </a:cubicBezTo>
                  <a:cubicBezTo>
                    <a:pt x="18" y="25"/>
                    <a:pt x="18" y="25"/>
                    <a:pt x="18" y="25"/>
                  </a:cubicBezTo>
                  <a:cubicBezTo>
                    <a:pt x="19" y="26"/>
                    <a:pt x="19" y="28"/>
                    <a:pt x="17" y="30"/>
                  </a:cubicBezTo>
                  <a:cubicBezTo>
                    <a:pt x="16" y="31"/>
                    <a:pt x="14" y="31"/>
                    <a:pt x="13" y="30"/>
                  </a:cubicBezTo>
                  <a:cubicBezTo>
                    <a:pt x="1" y="18"/>
                    <a:pt x="1" y="18"/>
                    <a:pt x="1" y="18"/>
                  </a:cubicBezTo>
                  <a:cubicBezTo>
                    <a:pt x="0" y="17"/>
                    <a:pt x="0" y="15"/>
                    <a:pt x="1" y="14"/>
                  </a:cubicBezTo>
                </a:path>
              </a:pathLst>
            </a:custGeom>
            <a:solidFill>
              <a:srgbClr val="BAD53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0" end="0"/>
                                            </p:txEl>
                                          </p:spTgt>
                                        </p:tgtEl>
                                        <p:attrNameLst>
                                          <p:attrName>style.visibility</p:attrName>
                                        </p:attrNameLst>
                                      </p:cBhvr>
                                      <p:to>
                                        <p:strVal val="visible"/>
                                      </p:to>
                                    </p:set>
                                    <p:animEffect transition="in" filter="fade">
                                      <p:cBhvr>
                                        <p:cTn id="7" dur="500"/>
                                        <p:tgtEl>
                                          <p:spTgt spid="8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xEl>
                                              <p:pRg st="1" end="1"/>
                                            </p:txEl>
                                          </p:spTgt>
                                        </p:tgtEl>
                                        <p:attrNameLst>
                                          <p:attrName>style.visibility</p:attrName>
                                        </p:attrNameLst>
                                      </p:cBhvr>
                                      <p:to>
                                        <p:strVal val="visible"/>
                                      </p:to>
                                    </p:set>
                                    <p:animEffect transition="in" filter="fade">
                                      <p:cBhvr>
                                        <p:cTn id="13" dur="500"/>
                                        <p:tgtEl>
                                          <p:spTgt spid="88">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8">
                                            <p:txEl>
                                              <p:pRg st="2" end="2"/>
                                            </p:txEl>
                                          </p:spTgt>
                                        </p:tgtEl>
                                        <p:attrNameLst>
                                          <p:attrName>style.visibility</p:attrName>
                                        </p:attrNameLst>
                                      </p:cBhvr>
                                      <p:to>
                                        <p:strVal val="visible"/>
                                      </p:to>
                                    </p:set>
                                    <p:animEffect transition="in" filter="fade">
                                      <p:cBhvr>
                                        <p:cTn id="16" dur="500"/>
                                        <p:tgtEl>
                                          <p:spTgt spid="88">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8">
                                            <p:txEl>
                                              <p:pRg st="3" end="3"/>
                                            </p:txEl>
                                          </p:spTgt>
                                        </p:tgtEl>
                                        <p:attrNameLst>
                                          <p:attrName>style.visibility</p:attrName>
                                        </p:attrNameLst>
                                      </p:cBhvr>
                                      <p:to>
                                        <p:strVal val="visible"/>
                                      </p:to>
                                    </p:set>
                                    <p:animEffect transition="in" filter="fade">
                                      <p:cBhvr>
                                        <p:cTn id="21" dur="500"/>
                                        <p:tgtEl>
                                          <p:spTgt spid="88">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par>
                                <p:cTn id="25" presetID="10" presetClass="entr" presetSubtype="0" fill="hold" nodeType="withEffect">
                                  <p:stCondLst>
                                    <p:cond delay="0"/>
                                  </p:stCondLst>
                                  <p:childTnLst>
                                    <p:set>
                                      <p:cBhvr>
                                        <p:cTn id="26" dur="1" fill="hold">
                                          <p:stCondLst>
                                            <p:cond delay="0"/>
                                          </p:stCondLst>
                                        </p:cTn>
                                        <p:tgtEl>
                                          <p:spTgt spid="122"/>
                                        </p:tgtEl>
                                        <p:attrNameLst>
                                          <p:attrName>style.visibility</p:attrName>
                                        </p:attrNameLst>
                                      </p:cBhvr>
                                      <p:to>
                                        <p:strVal val="visible"/>
                                      </p:to>
                                    </p:set>
                                    <p:animEffect transition="in" filter="fade">
                                      <p:cBhvr>
                                        <p:cTn id="27" dur="500"/>
                                        <p:tgtEl>
                                          <p:spTgt spid="122"/>
                                        </p:tgtEl>
                                      </p:cBhvr>
                                    </p:animEffect>
                                  </p:childTnLst>
                                </p:cTn>
                              </p:par>
                              <p:par>
                                <p:cTn id="28" presetID="10"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par>
                                <p:cTn id="31" presetID="10" presetClass="entr" presetSubtype="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par>
                                <p:cTn id="37" presetID="10" presetClass="entr" presetSubtype="0" fill="hold" nodeType="withEffect">
                                  <p:stCondLst>
                                    <p:cond delay="0"/>
                                  </p:stCondLst>
                                  <p:childTnLst>
                                    <p:set>
                                      <p:cBhvr>
                                        <p:cTn id="38" dur="1" fill="hold">
                                          <p:stCondLst>
                                            <p:cond delay="0"/>
                                          </p:stCondLst>
                                        </p:cTn>
                                        <p:tgtEl>
                                          <p:spTgt spid="88">
                                            <p:txEl>
                                              <p:pRg st="4" end="4"/>
                                            </p:txEl>
                                          </p:spTgt>
                                        </p:tgtEl>
                                        <p:attrNameLst>
                                          <p:attrName>style.visibility</p:attrName>
                                        </p:attrNameLst>
                                      </p:cBhvr>
                                      <p:to>
                                        <p:strVal val="visible"/>
                                      </p:to>
                                    </p:set>
                                    <p:animEffect transition="in" filter="fade">
                                      <p:cBhvr>
                                        <p:cTn id="39" dur="500"/>
                                        <p:tgtEl>
                                          <p:spTgt spid="88">
                                            <p:txEl>
                                              <p:pRg st="4" end="4"/>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xEl>
                                              <p:pRg st="5" end="5"/>
                                            </p:txEl>
                                          </p:spTgt>
                                        </p:tgtEl>
                                        <p:attrNameLst>
                                          <p:attrName>style.visibility</p:attrName>
                                        </p:attrNameLst>
                                      </p:cBhvr>
                                      <p:to>
                                        <p:strVal val="visible"/>
                                      </p:to>
                                    </p:set>
                                    <p:animEffect transition="in" filter="fade">
                                      <p:cBhvr>
                                        <p:cTn id="42" dur="500"/>
                                        <p:tgtEl>
                                          <p:spTgt spid="88">
                                            <p:txEl>
                                              <p:pRg st="5" end="5"/>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8">
                                            <p:txEl>
                                              <p:pRg st="6" end="6"/>
                                            </p:txEl>
                                          </p:spTgt>
                                        </p:tgtEl>
                                        <p:attrNameLst>
                                          <p:attrName>style.visibility</p:attrName>
                                        </p:attrNameLst>
                                      </p:cBhvr>
                                      <p:to>
                                        <p:strVal val="visible"/>
                                      </p:to>
                                    </p:set>
                                    <p:animEffect transition="in" filter="fade">
                                      <p:cBhvr>
                                        <p:cTn id="47" dur="500"/>
                                        <p:tgtEl>
                                          <p:spTgt spid="88">
                                            <p:txEl>
                                              <p:pRg st="6" end="6"/>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nodeType="withEffect">
                                  <p:stCondLst>
                                    <p:cond delay="0"/>
                                  </p:stCondLst>
                                  <p:childTnLst>
                                    <p:set>
                                      <p:cBhvr>
                                        <p:cTn id="52" dur="1" fill="hold">
                                          <p:stCondLst>
                                            <p:cond delay="0"/>
                                          </p:stCondLst>
                                        </p:cTn>
                                        <p:tgtEl>
                                          <p:spTgt spid="125"/>
                                        </p:tgtEl>
                                        <p:attrNameLst>
                                          <p:attrName>style.visibility</p:attrName>
                                        </p:attrNameLst>
                                      </p:cBhvr>
                                      <p:to>
                                        <p:strVal val="visible"/>
                                      </p:to>
                                    </p:set>
                                    <p:animEffect transition="in" filter="fade">
                                      <p:cBhvr>
                                        <p:cTn id="53" dur="500"/>
                                        <p:tgtEl>
                                          <p:spTgt spid="125"/>
                                        </p:tgtEl>
                                      </p:cBhvr>
                                    </p:animEffect>
                                  </p:childTnLst>
                                </p:cTn>
                              </p:par>
                              <p:par>
                                <p:cTn id="54" presetID="10" presetClass="entr" presetSubtype="0" fill="hold" nodeType="withEffect">
                                  <p:stCondLst>
                                    <p:cond delay="0"/>
                                  </p:stCondLst>
                                  <p:childTnLst>
                                    <p:set>
                                      <p:cBhvr>
                                        <p:cTn id="55" dur="1" fill="hold">
                                          <p:stCondLst>
                                            <p:cond delay="0"/>
                                          </p:stCondLst>
                                        </p:cTn>
                                        <p:tgtEl>
                                          <p:spTgt spid="117"/>
                                        </p:tgtEl>
                                        <p:attrNameLst>
                                          <p:attrName>style.visibility</p:attrName>
                                        </p:attrNameLst>
                                      </p:cBhvr>
                                      <p:to>
                                        <p:strVal val="visible"/>
                                      </p:to>
                                    </p:set>
                                    <p:animEffect transition="in" filter="fade">
                                      <p:cBhvr>
                                        <p:cTn id="56" dur="500"/>
                                        <p:tgtEl>
                                          <p:spTgt spid="117"/>
                                        </p:tgtEl>
                                      </p:cBhvr>
                                    </p:animEffect>
                                  </p:childTnLst>
                                </p:cTn>
                              </p:par>
                              <p:par>
                                <p:cTn id="57" presetID="10" presetClass="entr" presetSubtype="0" fill="hold" nodeType="withEffect">
                                  <p:stCondLst>
                                    <p:cond delay="0"/>
                                  </p:stCondLst>
                                  <p:childTnLst>
                                    <p:set>
                                      <p:cBhvr>
                                        <p:cTn id="58" dur="1" fill="hold">
                                          <p:stCondLst>
                                            <p:cond delay="0"/>
                                          </p:stCondLst>
                                        </p:cTn>
                                        <p:tgtEl>
                                          <p:spTgt spid="121"/>
                                        </p:tgtEl>
                                        <p:attrNameLst>
                                          <p:attrName>style.visibility</p:attrName>
                                        </p:attrNameLst>
                                      </p:cBhvr>
                                      <p:to>
                                        <p:strVal val="visible"/>
                                      </p:to>
                                    </p:set>
                                    <p:animEffect transition="in" filter="fade">
                                      <p:cBhvr>
                                        <p:cTn id="59" dur="500"/>
                                        <p:tgtEl>
                                          <p:spTgt spid="121"/>
                                        </p:tgtEl>
                                      </p:cBhvr>
                                    </p:animEffect>
                                  </p:childTnLst>
                                </p:cTn>
                              </p:par>
                              <p:par>
                                <p:cTn id="60" presetID="10" presetClass="entr" presetSubtype="0" fill="hold" nodeType="withEffect">
                                  <p:stCondLst>
                                    <p:cond delay="0"/>
                                  </p:stCondLst>
                                  <p:childTnLst>
                                    <p:set>
                                      <p:cBhvr>
                                        <p:cTn id="61" dur="1" fill="hold">
                                          <p:stCondLst>
                                            <p:cond delay="0"/>
                                          </p:stCondLst>
                                        </p:cTn>
                                        <p:tgtEl>
                                          <p:spTgt spid="88">
                                            <p:txEl>
                                              <p:pRg st="7" end="7"/>
                                            </p:txEl>
                                          </p:spTgt>
                                        </p:tgtEl>
                                        <p:attrNameLst>
                                          <p:attrName>style.visibility</p:attrName>
                                        </p:attrNameLst>
                                      </p:cBhvr>
                                      <p:to>
                                        <p:strVal val="visible"/>
                                      </p:to>
                                    </p:set>
                                    <p:animEffect transition="in" filter="fade">
                                      <p:cBhvr>
                                        <p:cTn id="62" dur="500"/>
                                        <p:tgtEl>
                                          <p:spTgt spid="88">
                                            <p:txEl>
                                              <p:pRg st="7" end="7"/>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88">
                                            <p:txEl>
                                              <p:pRg st="8" end="8"/>
                                            </p:txEl>
                                          </p:spTgt>
                                        </p:tgtEl>
                                        <p:attrNameLst>
                                          <p:attrName>style.visibility</p:attrName>
                                        </p:attrNameLst>
                                      </p:cBhvr>
                                      <p:to>
                                        <p:strVal val="visible"/>
                                      </p:to>
                                    </p:set>
                                    <p:animEffect transition="in" filter="fade">
                                      <p:cBhvr>
                                        <p:cTn id="67" dur="500"/>
                                        <p:tgtEl>
                                          <p:spTgt spid="88">
                                            <p:txEl>
                                              <p:pRg st="8" end="8"/>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116"/>
                                        </p:tgtEl>
                                        <p:attrNameLst>
                                          <p:attrName>style.visibility</p:attrName>
                                        </p:attrNameLst>
                                      </p:cBhvr>
                                      <p:to>
                                        <p:strVal val="visible"/>
                                      </p:to>
                                    </p:set>
                                    <p:animEffect transition="in" filter="fade">
                                      <p:cBhvr>
                                        <p:cTn id="70" dur="500"/>
                                        <p:tgtEl>
                                          <p:spTgt spid="116"/>
                                        </p:tgtEl>
                                      </p:cBhvr>
                                    </p:animEffect>
                                  </p:childTnLst>
                                </p:cTn>
                              </p:par>
                              <p:par>
                                <p:cTn id="71" presetID="10" presetClass="entr" presetSubtype="0" fill="hold" nodeType="withEffect">
                                  <p:stCondLst>
                                    <p:cond delay="0"/>
                                  </p:stCondLst>
                                  <p:childTnLst>
                                    <p:set>
                                      <p:cBhvr>
                                        <p:cTn id="72" dur="1" fill="hold">
                                          <p:stCondLst>
                                            <p:cond delay="0"/>
                                          </p:stCondLst>
                                        </p:cTn>
                                        <p:tgtEl>
                                          <p:spTgt spid="88">
                                            <p:txEl>
                                              <p:pRg st="9" end="9"/>
                                            </p:txEl>
                                          </p:spTgt>
                                        </p:tgtEl>
                                        <p:attrNameLst>
                                          <p:attrName>style.visibility</p:attrName>
                                        </p:attrNameLst>
                                      </p:cBhvr>
                                      <p:to>
                                        <p:strVal val="visible"/>
                                      </p:to>
                                    </p:set>
                                    <p:animEffect transition="in" filter="fade">
                                      <p:cBhvr>
                                        <p:cTn id="73" dur="500"/>
                                        <p:tgtEl>
                                          <p:spTgt spid="88">
                                            <p:txEl>
                                              <p:pRg st="9" end="9"/>
                                            </p:txEl>
                                          </p:spTgt>
                                        </p:tgtEl>
                                      </p:cBhvr>
                                    </p:animEffect>
                                  </p:childTnLst>
                                </p:cTn>
                              </p:par>
                              <p:par>
                                <p:cTn id="74" presetID="10" presetClass="entr" presetSubtype="0" fill="hold" nodeType="withEffect">
                                  <p:stCondLst>
                                    <p:cond delay="0"/>
                                  </p:stCondLst>
                                  <p:childTnLst>
                                    <p:set>
                                      <p:cBhvr>
                                        <p:cTn id="75" dur="1" fill="hold">
                                          <p:stCondLst>
                                            <p:cond delay="0"/>
                                          </p:stCondLst>
                                        </p:cTn>
                                        <p:tgtEl>
                                          <p:spTgt spid="128"/>
                                        </p:tgtEl>
                                        <p:attrNameLst>
                                          <p:attrName>style.visibility</p:attrName>
                                        </p:attrNameLst>
                                      </p:cBhvr>
                                      <p:to>
                                        <p:strVal val="visible"/>
                                      </p:to>
                                    </p:set>
                                    <p:animEffect transition="in" filter="fade">
                                      <p:cBhvr>
                                        <p:cTn id="76" dur="500"/>
                                        <p:tgtEl>
                                          <p:spTgt spid="128"/>
                                        </p:tgtEl>
                                      </p:cBhvr>
                                    </p:animEffect>
                                  </p:childTnLst>
                                </p:cTn>
                              </p:par>
                              <p:par>
                                <p:cTn id="77" presetID="10" presetClass="entr" presetSubtype="0" fill="hold" nodeType="withEffect">
                                  <p:stCondLst>
                                    <p:cond delay="0"/>
                                  </p:stCondLst>
                                  <p:childTnLst>
                                    <p:set>
                                      <p:cBhvr>
                                        <p:cTn id="78" dur="1" fill="hold">
                                          <p:stCondLst>
                                            <p:cond delay="0"/>
                                          </p:stCondLst>
                                        </p:cTn>
                                        <p:tgtEl>
                                          <p:spTgt spid="123"/>
                                        </p:tgtEl>
                                        <p:attrNameLst>
                                          <p:attrName>style.visibility</p:attrName>
                                        </p:attrNameLst>
                                      </p:cBhvr>
                                      <p:to>
                                        <p:strVal val="visible"/>
                                      </p:to>
                                    </p:set>
                                    <p:animEffect transition="in" filter="fade">
                                      <p:cBhvr>
                                        <p:cTn id="79" dur="500"/>
                                        <p:tgtEl>
                                          <p:spTgt spid="123"/>
                                        </p:tgtEl>
                                      </p:cBhvr>
                                    </p:animEffect>
                                  </p:childTnLst>
                                </p:cTn>
                              </p:par>
                              <p:par>
                                <p:cTn id="80" presetID="10" presetClass="entr" presetSubtype="0"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fade">
                                      <p:cBhvr>
                                        <p:cTn id="82" dur="500"/>
                                        <p:tgtEl>
                                          <p:spTgt spid="6"/>
                                        </p:tgtEl>
                                      </p:cBhvr>
                                    </p:animEffect>
                                  </p:childTnLst>
                                </p:cTn>
                              </p:par>
                              <p:par>
                                <p:cTn id="83" presetID="10" presetClass="entr" presetSubtype="0" fill="hold" nodeType="withEffect">
                                  <p:stCondLst>
                                    <p:cond delay="0"/>
                                  </p:stCondLst>
                                  <p:childTnLst>
                                    <p:set>
                                      <p:cBhvr>
                                        <p:cTn id="84" dur="1" fill="hold">
                                          <p:stCondLst>
                                            <p:cond delay="0"/>
                                          </p:stCondLst>
                                        </p:cTn>
                                        <p:tgtEl>
                                          <p:spTgt spid="124"/>
                                        </p:tgtEl>
                                        <p:attrNameLst>
                                          <p:attrName>style.visibility</p:attrName>
                                        </p:attrNameLst>
                                      </p:cBhvr>
                                      <p:to>
                                        <p:strVal val="visible"/>
                                      </p:to>
                                    </p:set>
                                    <p:animEffect transition="in" filter="fade">
                                      <p:cBhvr>
                                        <p:cTn id="85" dur="500"/>
                                        <p:tgtEl>
                                          <p:spTgt spid="124"/>
                                        </p:tgtEl>
                                      </p:cBhvr>
                                    </p:animEffect>
                                  </p:childTnLst>
                                </p:cTn>
                              </p:par>
                              <p:par>
                                <p:cTn id="86" presetID="10" presetClass="entr" presetSubtype="0" fill="hold" nodeType="withEffect">
                                  <p:stCondLst>
                                    <p:cond delay="0"/>
                                  </p:stCondLst>
                                  <p:childTnLst>
                                    <p:set>
                                      <p:cBhvr>
                                        <p:cTn id="87" dur="1" fill="hold">
                                          <p:stCondLst>
                                            <p:cond delay="0"/>
                                          </p:stCondLst>
                                        </p:cTn>
                                        <p:tgtEl>
                                          <p:spTgt spid="88">
                                            <p:txEl>
                                              <p:pRg st="10" end="10"/>
                                            </p:txEl>
                                          </p:spTgt>
                                        </p:tgtEl>
                                        <p:attrNameLst>
                                          <p:attrName>style.visibility</p:attrName>
                                        </p:attrNameLst>
                                      </p:cBhvr>
                                      <p:to>
                                        <p:strVal val="visible"/>
                                      </p:to>
                                    </p:set>
                                    <p:animEffect transition="in" filter="fade">
                                      <p:cBhvr>
                                        <p:cTn id="88" dur="500"/>
                                        <p:tgtEl>
                                          <p:spTgt spid="8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itle 1"/>
          <p:cNvSpPr txBox="1">
            <a:spLocks/>
          </p:cNvSpPr>
          <p:nvPr/>
        </p:nvSpPr>
        <p:spPr>
          <a:xfrm>
            <a:off x="-822566" y="482296"/>
            <a:ext cx="11979275" cy="1555750"/>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4800" b="0" i="0" u="none" strike="noStrike" kern="1200" cap="none" spc="-102" normalizeH="0" baseline="0" noProof="0" dirty="0">
              <a:ln w="3175">
                <a:noFill/>
              </a:ln>
              <a:solidFill>
                <a:srgbClr val="FFFFFF"/>
              </a:solidFill>
              <a:effectLst/>
              <a:uLnTx/>
              <a:uFillTx/>
              <a:latin typeface="Segoe UI Light"/>
              <a:ea typeface="+mn-ea"/>
              <a:cs typeface="Segoe UI" pitchFamily="34" charset="0"/>
            </a:endParaRPr>
          </a:p>
        </p:txBody>
      </p:sp>
      <p:sp>
        <p:nvSpPr>
          <p:cNvPr id="7" name="TextBox 6"/>
          <p:cNvSpPr txBox="1"/>
          <p:nvPr/>
        </p:nvSpPr>
        <p:spPr>
          <a:xfrm>
            <a:off x="1655762" y="2247900"/>
            <a:ext cx="8311473" cy="2985433"/>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panose="020B0502040204020203" pitchFamily="34" charset="0"/>
                <a:ea typeface="MS PGothic" panose="020B0600070205080204" pitchFamily="34" charset="-128"/>
                <a:cs typeface="Segoe UI Light" panose="020B0502040204020203" pitchFamily="34" charset="0"/>
              </a:rPr>
              <a:t>Millions of simultaneously connected devices</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Per-device authentication</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High throughput D2C messaging</a:t>
            </a:r>
          </a:p>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rPr>
              <a:t>Reliable C2D messaging</a:t>
            </a:r>
          </a:p>
        </p:txBody>
      </p:sp>
      <p:grpSp>
        <p:nvGrpSpPr>
          <p:cNvPr id="8" name="Group 7"/>
          <p:cNvGrpSpPr/>
          <p:nvPr/>
        </p:nvGrpSpPr>
        <p:grpSpPr>
          <a:xfrm rot="18900000">
            <a:off x="751721" y="2258050"/>
            <a:ext cx="451122" cy="303567"/>
            <a:chOff x="8913812" y="1031876"/>
            <a:chExt cx="1524000" cy="1025524"/>
          </a:xfrm>
          <a:solidFill>
            <a:srgbClr val="0078D7"/>
          </a:solidFill>
        </p:grpSpPr>
        <p:sp>
          <p:nvSpPr>
            <p:cNvPr id="18" name="Rectangle 1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Rectangle 1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p:cNvGrpSpPr/>
          <p:nvPr/>
        </p:nvGrpSpPr>
        <p:grpSpPr>
          <a:xfrm rot="18900000">
            <a:off x="751721" y="3076352"/>
            <a:ext cx="451122" cy="303567"/>
            <a:chOff x="8913812" y="1031876"/>
            <a:chExt cx="1524000" cy="1025524"/>
          </a:xfrm>
          <a:solidFill>
            <a:srgbClr val="0078D7"/>
          </a:solidFill>
        </p:grpSpPr>
        <p:sp>
          <p:nvSpPr>
            <p:cNvPr id="25" name="Rectangle 24"/>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Rectangle 25"/>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p:cNvGrpSpPr/>
          <p:nvPr/>
        </p:nvGrpSpPr>
        <p:grpSpPr>
          <a:xfrm rot="18900000">
            <a:off x="751721" y="3903951"/>
            <a:ext cx="451122" cy="303567"/>
            <a:chOff x="8913812" y="1031876"/>
            <a:chExt cx="1524000" cy="1025524"/>
          </a:xfrm>
          <a:solidFill>
            <a:srgbClr val="0078D7"/>
          </a:solidFill>
        </p:grpSpPr>
        <p:sp>
          <p:nvSpPr>
            <p:cNvPr id="28" name="Rectangle 27"/>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Rectangle 28"/>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0" name="Group 29"/>
          <p:cNvGrpSpPr/>
          <p:nvPr/>
        </p:nvGrpSpPr>
        <p:grpSpPr>
          <a:xfrm rot="18900000">
            <a:off x="751721" y="4722253"/>
            <a:ext cx="451122" cy="303567"/>
            <a:chOff x="8913812" y="1031876"/>
            <a:chExt cx="1524000" cy="1025524"/>
          </a:xfrm>
          <a:solidFill>
            <a:srgbClr val="0078D7"/>
          </a:solidFill>
        </p:grpSpPr>
        <p:sp>
          <p:nvSpPr>
            <p:cNvPr id="31" name="Rectangle 30"/>
            <p:cNvSpPr/>
            <p:nvPr/>
          </p:nvSpPr>
          <p:spPr>
            <a:xfrm>
              <a:off x="8913812" y="1031876"/>
              <a:ext cx="228600" cy="10255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31"/>
            <p:cNvSpPr/>
            <p:nvPr/>
          </p:nvSpPr>
          <p:spPr>
            <a:xfrm rot="5400000">
              <a:off x="9565943" y="1183099"/>
              <a:ext cx="228600" cy="15151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p:cNvGrpSpPr>
            <a:grpSpLocks/>
          </p:cNvGrpSpPr>
          <p:nvPr/>
        </p:nvGrpSpPr>
        <p:grpSpPr bwMode="auto">
          <a:xfrm flipH="1">
            <a:off x="7589822" y="1943100"/>
            <a:ext cx="4313237" cy="3409950"/>
            <a:chOff x="2348247" y="1709773"/>
            <a:chExt cx="7397345" cy="5322534"/>
          </a:xfrm>
        </p:grpSpPr>
        <p:pic>
          <p:nvPicPr>
            <p:cNvPr id="38" name="Picture 34"/>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348247" y="1709773"/>
              <a:ext cx="3209061" cy="532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5"/>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4130307" y="5211593"/>
              <a:ext cx="5615285" cy="182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p:txBody>
          <a:bodyPr/>
          <a:lstStyle/>
          <a:p>
            <a:pPr lvl="0"/>
            <a:r>
              <a:rPr lang="en-US" dirty="0" err="1"/>
              <a:t>IoT</a:t>
            </a:r>
            <a:r>
              <a:rPr lang="en-US" dirty="0"/>
              <a:t> Hub helps connect your devices to Azure</a:t>
            </a:r>
            <a:br>
              <a:rPr lang="en-US" dirty="0"/>
            </a:br>
            <a:endParaRPr lang="en-US" dirty="0"/>
          </a:p>
        </p:txBody>
      </p:sp>
    </p:spTree>
    <p:extLst>
      <p:ext uri="{BB962C8B-B14F-4D97-AF65-F5344CB8AC3E}">
        <p14:creationId xmlns:p14="http://schemas.microsoft.com/office/powerpoint/2010/main" val="2688120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4" y="-1074688"/>
            <a:ext cx="12434711" cy="8283430"/>
          </a:xfrm>
          <a:prstGeom prst="rect">
            <a:avLst/>
          </a:prstGeom>
        </p:spPr>
      </p:pic>
      <p:sp>
        <p:nvSpPr>
          <p:cNvPr id="5" name="Rectangle 4"/>
          <p:cNvSpPr/>
          <p:nvPr/>
        </p:nvSpPr>
        <p:spPr>
          <a:xfrm>
            <a:off x="458019" y="2943811"/>
            <a:ext cx="6948926" cy="1193524"/>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Preconfigured solutions</a:t>
            </a:r>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13603356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bg>
      <p:bgPr>
        <a:gradFill>
          <a:gsLst>
            <a:gs pos="0">
              <a:srgbClr val="002050"/>
            </a:gs>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Remote monitoring preconfigured solution</a:t>
            </a:r>
          </a:p>
        </p:txBody>
      </p:sp>
      <p:pic>
        <p:nvPicPr>
          <p:cNvPr id="134146" name="Picture 2" descr="Logical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482" y="1458882"/>
            <a:ext cx="8566112" cy="5513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66832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redictive maintenance solution</a:t>
            </a:r>
          </a:p>
        </p:txBody>
      </p:sp>
      <p:pic>
        <p:nvPicPr>
          <p:cNvPr id="135170" name="Picture 2" descr="https://docs.microsoft.com/en-us/azure/iot-suite/media/iot-suite-predictive-walkthrough/architec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921" y="1302726"/>
            <a:ext cx="8320949" cy="5685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08774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25D90-5B4F-4B89-98D5-7C55B5A723A3}"/>
              </a:ext>
            </a:extLst>
          </p:cNvPr>
          <p:cNvSpPr>
            <a:spLocks noGrp="1"/>
          </p:cNvSpPr>
          <p:nvPr>
            <p:ph type="title"/>
          </p:nvPr>
        </p:nvSpPr>
        <p:spPr/>
        <p:txBody>
          <a:bodyPr/>
          <a:lstStyle/>
          <a:p>
            <a:r>
              <a:rPr lang="sv-SE" dirty="0"/>
              <a:t>Azure Portal</a:t>
            </a:r>
          </a:p>
        </p:txBody>
      </p:sp>
      <p:sp>
        <p:nvSpPr>
          <p:cNvPr id="3" name="TextBox 2">
            <a:extLst>
              <a:ext uri="{FF2B5EF4-FFF2-40B4-BE49-F238E27FC236}">
                <a16:creationId xmlns:a16="http://schemas.microsoft.com/office/drawing/2014/main" id="{4C05B3AE-0084-4322-84F2-61F7C7D2DC2D}"/>
              </a:ext>
            </a:extLst>
          </p:cNvPr>
          <p:cNvSpPr txBox="1"/>
          <p:nvPr/>
        </p:nvSpPr>
        <p:spPr>
          <a:xfrm>
            <a:off x="1463409" y="1394165"/>
            <a:ext cx="8311473" cy="5955476"/>
          </a:xfrm>
          <a:prstGeom prst="rect">
            <a:avLst/>
          </a:prstGeom>
          <a:noFill/>
        </p:spPr>
        <p:txBody>
          <a:bodyPr wrap="square">
            <a:spAutoFit/>
          </a:bodyPr>
          <a:lstStyle/>
          <a:p>
            <a:pPr marL="0" marR="0" lvl="0" indent="0" algn="l" defTabSz="932742" rtl="0" eaLnBrk="1" fontAlgn="auto" latinLnBrk="0" hangingPunct="1">
              <a:lnSpc>
                <a:spcPct val="100000"/>
              </a:lnSpc>
              <a:spcBef>
                <a:spcPts val="0"/>
              </a:spcBef>
              <a:spcAft>
                <a:spcPts val="2400"/>
              </a:spcAft>
              <a:buClrTx/>
              <a:buSzTx/>
              <a:buFontTx/>
              <a:buNone/>
              <a:tabLst/>
              <a:defRPr/>
            </a:pPr>
            <a:r>
              <a:rPr kumimoji="0" lang="en-US" sz="3200" b="0" i="0" u="none" strike="noStrike" kern="1200" cap="none" spc="0" normalizeH="0" baseline="0" noProof="0" dirty="0">
                <a:ln>
                  <a:noFill/>
                </a:ln>
                <a:effectLst/>
                <a:uLnTx/>
                <a:uFillTx/>
                <a:latin typeface="Segoe UI Light" panose="020B0502040204020203" pitchFamily="34" charset="0"/>
                <a:ea typeface="MS PGothic" panose="020B0600070205080204" pitchFamily="34" charset="-128"/>
                <a:cs typeface="Segoe UI Light" panose="020B0502040204020203" pitchFamily="34" charset="0"/>
              </a:rPr>
              <a:t>Use Resource Groups!</a:t>
            </a:r>
          </a:p>
          <a:p>
            <a:pPr marL="457200" marR="0" lvl="0" indent="-457200" algn="l" defTabSz="932742" rtl="0" eaLnBrk="1" fontAlgn="auto" latinLnBrk="0" hangingPunct="1">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IoT Hub</a:t>
            </a:r>
          </a:p>
          <a:p>
            <a:pPr marL="922338" lvl="1"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Devices</a:t>
            </a:r>
          </a:p>
          <a:p>
            <a:pPr marL="457200"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Azure Stream Analytics Job</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IoT Hub Input</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Power BI output</a:t>
            </a:r>
          </a:p>
          <a:p>
            <a:pPr marL="457200"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Service Bus Namespace</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Queue</a:t>
            </a:r>
          </a:p>
          <a:p>
            <a:pPr marL="457200" indent="-457200" defTabSz="932742" eaLnBrk="1" fontAlgn="auto" hangingPunct="1">
              <a:spcBef>
                <a:spcPts val="0"/>
              </a:spcBef>
              <a:spcAft>
                <a:spcPts val="600"/>
              </a:spcAft>
              <a:buFont typeface="Arial" panose="020B0604020202020204" pitchFamily="34" charset="0"/>
              <a:buChar char="•"/>
              <a:defRPr/>
            </a:pPr>
            <a:r>
              <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rPr>
              <a:t>Function App</a:t>
            </a:r>
          </a:p>
          <a:p>
            <a:pPr marL="922338" lvl="1" indent="-457200" defTabSz="932742" eaLnBrk="1" fontAlgn="auto" hangingPunct="1">
              <a:spcBef>
                <a:spcPts val="0"/>
              </a:spcBef>
              <a:spcAft>
                <a:spcPts val="600"/>
              </a:spcAft>
              <a:buFont typeface="Arial" panose="020B0604020202020204" pitchFamily="34" charset="0"/>
              <a:buChar char="•"/>
              <a:defRPr/>
            </a:pPr>
            <a:r>
              <a:rPr lang="en-US" sz="2800" dirty="0">
                <a:latin typeface="Segoe UI Light"/>
              </a:rPr>
              <a:t>Function</a:t>
            </a:r>
            <a:endParaRPr kumimoji="0" lang="en-US" sz="2800" b="0" i="0" u="none" strike="noStrike" kern="1200" cap="none" spc="0" normalizeH="0" baseline="0" noProof="0" dirty="0">
              <a:ln>
                <a:noFill/>
              </a:ln>
              <a:effectLst/>
              <a:uLnTx/>
              <a:uFillTx/>
              <a:latin typeface="Segoe UI Light"/>
              <a:ea typeface="MS PGothic" panose="020B0600070205080204" pitchFamily="34" charset="-128"/>
              <a:cs typeface="+mn-cs"/>
            </a:endParaRPr>
          </a:p>
          <a:p>
            <a:pPr marL="0" marR="0" lvl="0" indent="0" algn="l" defTabSz="932742" rtl="0" eaLnBrk="1" fontAlgn="auto" latinLnBrk="0" hangingPunct="1">
              <a:lnSpc>
                <a:spcPct val="100000"/>
              </a:lnSpc>
              <a:spcBef>
                <a:spcPts val="0"/>
              </a:spcBef>
              <a:spcAft>
                <a:spcPts val="2400"/>
              </a:spcAft>
              <a:buClrTx/>
              <a:buSzTx/>
              <a:buFontTx/>
              <a:buNone/>
              <a:tabLst/>
              <a:defRPr/>
            </a:pPr>
            <a:endParaRPr kumimoji="0" lang="en-US" sz="3200" b="0" i="0" u="none" strike="noStrike" kern="1200" cap="none" spc="0" normalizeH="0" baseline="0" noProof="0" dirty="0">
              <a:ln>
                <a:noFill/>
              </a:ln>
              <a:effectLst/>
              <a:uLnTx/>
              <a:uFillTx/>
              <a:latin typeface="Segoe UI Light"/>
              <a:ea typeface="MS PGothic" panose="020B0600070205080204" pitchFamily="34" charset="-128"/>
              <a:cs typeface="+mn-cs"/>
            </a:endParaRPr>
          </a:p>
        </p:txBody>
      </p:sp>
    </p:spTree>
    <p:extLst>
      <p:ext uri="{BB962C8B-B14F-4D97-AF65-F5344CB8AC3E}">
        <p14:creationId xmlns:p14="http://schemas.microsoft.com/office/powerpoint/2010/main" val="29536006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500"/>
                                        <p:tgtEl>
                                          <p:spTgt spid="3">
                                            <p:txEl>
                                              <p:pRg st="6" end="6"/>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8" end="8"/>
                                            </p:txEl>
                                          </p:spTgt>
                                        </p:tgtEl>
                                        <p:attrNameLst>
                                          <p:attrName>style.visibility</p:attrName>
                                        </p:attrNameLst>
                                      </p:cBhvr>
                                      <p:to>
                                        <p:strVal val="visible"/>
                                      </p:to>
                                    </p:set>
                                    <p:animEffect transition="in" filter="fade">
                                      <p:cBhvr>
                                        <p:cTn id="34" dur="500"/>
                                        <p:tgtEl>
                                          <p:spTgt spid="3">
                                            <p:txEl>
                                              <p:pRg st="8" end="8"/>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fade">
                                      <p:cBhvr>
                                        <p:cTn id="37"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059209"/>
            <a:ext cx="12434711" cy="8283430"/>
          </a:xfrm>
          <a:prstGeom prst="rect">
            <a:avLst/>
          </a:prstGeom>
        </p:spPr>
      </p:pic>
      <p:sp>
        <p:nvSpPr>
          <p:cNvPr id="5" name="Rectangle 4"/>
          <p:cNvSpPr/>
          <p:nvPr/>
        </p:nvSpPr>
        <p:spPr>
          <a:xfrm>
            <a:off x="458019" y="2943811"/>
            <a:ext cx="6948926" cy="1010646"/>
          </a:xfrm>
          <a:prstGeom prst="rect">
            <a:avLst/>
          </a:pr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86521" rIns="186521" bIns="186521" rtlCol="0" anchor="t"/>
          <a:lstStyle/>
          <a:p>
            <a:r>
              <a:rPr lang="en-US" sz="4400" dirty="0">
                <a:solidFill>
                  <a:srgbClr val="FFFFFF"/>
                </a:solidFill>
                <a:latin typeface="+mj-lt"/>
              </a:rPr>
              <a:t>Overview of Azure IoT Hub</a:t>
            </a:r>
          </a:p>
          <a:p>
            <a:endParaRPr lang="en-US" sz="4400" dirty="0">
              <a:solidFill>
                <a:srgbClr val="FFFFFF"/>
              </a:solidFill>
              <a:latin typeface="+mj-lt"/>
              <a:cs typeface="Segoe UI Light" panose="020B0502040204020203"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ltGray">
          <a:xfrm>
            <a:off x="458018" y="477661"/>
            <a:ext cx="1552711" cy="332660"/>
          </a:xfrm>
          <a:prstGeom prst="rect">
            <a:avLst/>
          </a:prstGeom>
        </p:spPr>
      </p:pic>
    </p:spTree>
    <p:extLst>
      <p:ext uri="{BB962C8B-B14F-4D97-AF65-F5344CB8AC3E}">
        <p14:creationId xmlns:p14="http://schemas.microsoft.com/office/powerpoint/2010/main" val="1664313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Solution Architecture</a:t>
            </a:r>
          </a:p>
        </p:txBody>
      </p:sp>
      <p:sp>
        <p:nvSpPr>
          <p:cNvPr id="3" name="Text Placeholder 2"/>
          <p:cNvSpPr>
            <a:spLocks noGrp="1"/>
          </p:cNvSpPr>
          <p:nvPr>
            <p:ph type="body" sz="quarter" idx="10"/>
          </p:nvPr>
        </p:nvSpPr>
        <p:spPr/>
        <p:txBody>
          <a:bodyPr/>
          <a:lstStyle/>
          <a:p>
            <a:endParaRPr lang="sv-SE"/>
          </a:p>
        </p:txBody>
      </p:sp>
      <p:pic>
        <p:nvPicPr>
          <p:cNvPr id="133122" name="Picture 2" descr="IoT solution archite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1564" y="1387470"/>
            <a:ext cx="8081428" cy="5584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185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75482" y="3790564"/>
            <a:ext cx="11885514" cy="2564135"/>
          </a:xfrm>
        </p:spPr>
        <p:txBody>
          <a:bodyPr/>
          <a:lstStyle/>
          <a:p>
            <a:pPr marL="0" lvl="2">
              <a:buClr>
                <a:prstClr val="white"/>
              </a:buClr>
              <a:defRPr/>
            </a:pPr>
            <a:r>
              <a:rPr lang="en-US" sz="2856" dirty="0">
                <a:solidFill>
                  <a:prstClr val="white"/>
                </a:solidFill>
                <a:latin typeface="Segoe UI Light"/>
              </a:rPr>
              <a:t>Azure IoT Hub is designed to connect your devices to Azure. It support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Millions of simultaneously connected devices</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Per-device authentica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High throughput data ingestion</a:t>
            </a:r>
          </a:p>
          <a:p>
            <a:pPr marL="694811" lvl="3" indent="-466298">
              <a:buClr>
                <a:prstClr val="white"/>
              </a:buClr>
              <a:buFont typeface="Webdings" panose="05030102010509060703" pitchFamily="18" charset="2"/>
              <a:buChar char=""/>
              <a:defRPr/>
            </a:pPr>
            <a:r>
              <a:rPr lang="en-US" sz="2856" dirty="0">
                <a:solidFill>
                  <a:prstClr val="white"/>
                </a:solidFill>
                <a:latin typeface="Segoe UI Light"/>
              </a:rPr>
              <a:t>Reliable command and control</a:t>
            </a:r>
          </a:p>
        </p:txBody>
      </p:sp>
      <p:sp>
        <p:nvSpPr>
          <p:cNvPr id="6" name="Text Placeholder 4"/>
          <p:cNvSpPr txBox="1">
            <a:spLocks/>
          </p:cNvSpPr>
          <p:nvPr/>
        </p:nvSpPr>
        <p:spPr>
          <a:xfrm>
            <a:off x="280988" y="1593197"/>
            <a:ext cx="11885514" cy="1652703"/>
          </a:xfrm>
          <a:prstGeom prst="rect">
            <a:avLst/>
          </a:prstGeom>
        </p:spPr>
        <p:txBody>
          <a:bodyPr vert="horz" wrap="square" lIns="149217" tIns="93260" rIns="149217" bIns="93260"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998" dirty="0"/>
              <a:t>IoT Hub is available as a stand-alone service or as one of the services used in the new Azure IoT Suite</a:t>
            </a:r>
          </a:p>
          <a:p>
            <a:pPr lvl="1"/>
            <a:r>
              <a:rPr lang="en-US" sz="2000" dirty="0"/>
              <a:t> </a:t>
            </a:r>
          </a:p>
        </p:txBody>
      </p:sp>
    </p:spTree>
    <p:extLst>
      <p:ext uri="{BB962C8B-B14F-4D97-AF65-F5344CB8AC3E}">
        <p14:creationId xmlns:p14="http://schemas.microsoft.com/office/powerpoint/2010/main" val="13331337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T Solution Architecture</a:t>
            </a:r>
          </a:p>
        </p:txBody>
      </p:sp>
      <p:sp>
        <p:nvSpPr>
          <p:cNvPr id="8" name="Field gateway"/>
          <p:cNvSpPr/>
          <p:nvPr/>
        </p:nvSpPr>
        <p:spPr>
          <a:xfrm>
            <a:off x="2163220" y="3964698"/>
            <a:ext cx="961766"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537100" y="3080186"/>
            <a:ext cx="976608" cy="153170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loud protocol</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33890" y="2638224"/>
            <a:ext cx="313475" cy="314090"/>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22" name="Straight Arrow Connector 21"/>
          <p:cNvCxnSpPr/>
          <p:nvPr/>
        </p:nvCxnSpPr>
        <p:spPr>
          <a:xfrm flipV="1">
            <a:off x="1467993" y="2774722"/>
            <a:ext cx="3570381" cy="11051"/>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993" y="3556496"/>
            <a:ext cx="2069107" cy="1394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430" y="3831173"/>
            <a:ext cx="535796"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993" y="4317051"/>
            <a:ext cx="701880" cy="10220"/>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3299" y="4260003"/>
            <a:ext cx="423837" cy="5138"/>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73598" y="5097994"/>
            <a:ext cx="695751"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2303" y="5097992"/>
            <a:ext cx="1906070" cy="1192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04794" y="2989340"/>
            <a:ext cx="1156735"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IP-capable</a:t>
            </a:r>
          </a:p>
        </p:txBody>
      </p:sp>
      <p:sp>
        <p:nvSpPr>
          <p:cNvPr id="36" name="TextBox 35"/>
          <p:cNvSpPr txBox="1"/>
          <p:nvPr/>
        </p:nvSpPr>
        <p:spPr>
          <a:xfrm rot="16200000">
            <a:off x="201321" y="4557966"/>
            <a:ext cx="1342789" cy="34516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PAN-devices</a:t>
            </a:r>
          </a:p>
        </p:txBody>
      </p:sp>
      <p:sp>
        <p:nvSpPr>
          <p:cNvPr id="37" name="Rectangle 36"/>
          <p:cNvSpPr/>
          <p:nvPr/>
        </p:nvSpPr>
        <p:spPr>
          <a:xfrm>
            <a:off x="7856808" y="2530030"/>
            <a:ext cx="3116257" cy="1172901"/>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vent processing and insight</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e.g. hot and cold paths)</a:t>
            </a:r>
          </a:p>
        </p:txBody>
      </p:sp>
      <p:sp>
        <p:nvSpPr>
          <p:cNvPr id="51" name="Left-Right Arrow 50"/>
          <p:cNvSpPr/>
          <p:nvPr/>
        </p:nvSpPr>
        <p:spPr>
          <a:xfrm>
            <a:off x="7073138" y="4141158"/>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Rectangle 77"/>
          <p:cNvSpPr/>
          <p:nvPr/>
        </p:nvSpPr>
        <p:spPr>
          <a:xfrm>
            <a:off x="7842369" y="3899358"/>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business logic,</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Connectivity monitoring</a:t>
            </a:r>
          </a:p>
        </p:txBody>
      </p:sp>
      <p:sp>
        <p:nvSpPr>
          <p:cNvPr id="83" name="Rectangle 82"/>
          <p:cNvSpPr/>
          <p:nvPr/>
        </p:nvSpPr>
        <p:spPr>
          <a:xfrm>
            <a:off x="7856808" y="5208642"/>
            <a:ext cx="3116256" cy="967237"/>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Application</a:t>
            </a:r>
          </a:p>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device provisioning and management</a:t>
            </a:r>
          </a:p>
        </p:txBody>
      </p:sp>
      <p:cxnSp>
        <p:nvCxnSpPr>
          <p:cNvPr id="88" name="Straight Connector 87"/>
          <p:cNvCxnSpPr/>
          <p:nvPr/>
        </p:nvCxnSpPr>
        <p:spPr>
          <a:xfrm>
            <a:off x="3292604" y="2419507"/>
            <a:ext cx="0" cy="4114172"/>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605" y="6180182"/>
            <a:ext cx="879373"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a:ln>
                  <a:noFill/>
                </a:ln>
                <a:effectLst/>
                <a:uLnTx/>
                <a:uFillTx/>
                <a:latin typeface="Segoe UI"/>
                <a:ea typeface="+mn-ea"/>
                <a:cs typeface="+mn-cs"/>
              </a:rPr>
              <a:t>cloud</a:t>
            </a:r>
          </a:p>
        </p:txBody>
      </p:sp>
      <p:sp>
        <p:nvSpPr>
          <p:cNvPr id="96" name="TextBox 95"/>
          <p:cNvSpPr txBox="1"/>
          <p:nvPr/>
        </p:nvSpPr>
        <p:spPr>
          <a:xfrm>
            <a:off x="2440821" y="6167974"/>
            <a:ext cx="768198" cy="521303"/>
          </a:xfrm>
          <a:prstGeom prst="rect">
            <a:avLst/>
          </a:prstGeom>
          <a:noFill/>
        </p:spPr>
        <p:txBody>
          <a:bodyPr wrap="none" lIns="182854" tIns="146283" rIns="182854" bIns="146283"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599" b="0" i="0" u="none" strike="noStrike" kern="1200" cap="none" spc="0" normalizeH="0" baseline="0" noProof="0" dirty="0">
                <a:ln>
                  <a:noFill/>
                </a:ln>
                <a:effectLst/>
                <a:uLnTx/>
                <a:uFillTx/>
                <a:latin typeface="Segoe UI"/>
                <a:ea typeface="+mn-ea"/>
                <a:cs typeface="+mn-cs"/>
              </a:rPr>
              <a:t>field</a:t>
            </a:r>
          </a:p>
        </p:txBody>
      </p:sp>
      <p:grpSp>
        <p:nvGrpSpPr>
          <p:cNvPr id="41" name="Group 40"/>
          <p:cNvGrpSpPr/>
          <p:nvPr/>
        </p:nvGrpSpPr>
        <p:grpSpPr>
          <a:xfrm>
            <a:off x="1133890" y="3399720"/>
            <a:ext cx="313475" cy="314090"/>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4" name="Group 43"/>
          <p:cNvGrpSpPr/>
          <p:nvPr/>
        </p:nvGrpSpPr>
        <p:grpSpPr>
          <a:xfrm>
            <a:off x="1127365" y="4159884"/>
            <a:ext cx="313475" cy="314090"/>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7" name="Group 46"/>
          <p:cNvGrpSpPr/>
          <p:nvPr/>
        </p:nvGrpSpPr>
        <p:grpSpPr>
          <a:xfrm>
            <a:off x="1124782" y="4952869"/>
            <a:ext cx="313475" cy="314090"/>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14" tIns="45707" rIns="91414" bIns="45707" numCol="1" anchor="t" anchorCtr="0" compatLnSpc="1">
              <a:prstTxWarp prst="textNoShape">
                <a:avLst/>
              </a:prstTxWarp>
            </a:bodyPr>
            <a:lstStyle/>
            <a:p>
              <a:pPr marL="0" marR="0" lvl="0" indent="0" algn="l" defTabSz="685214" rtl="0" eaLnBrk="1" fontAlgn="auto" latinLnBrk="0" hangingPunct="1">
                <a:lnSpc>
                  <a:spcPct val="100000"/>
                </a:lnSpc>
                <a:spcBef>
                  <a:spcPts val="0"/>
                </a:spcBef>
                <a:spcAft>
                  <a:spcPts val="0"/>
                </a:spcAft>
                <a:buClrTx/>
                <a:buSzTx/>
                <a:buFontTx/>
                <a:buNone/>
                <a:tabLst/>
                <a:defRPr/>
              </a:pPr>
              <a:endParaRPr kumimoji="0" lang="en-US" sz="1399" b="0" i="0" u="none" strike="noStrike" kern="1200" cap="none" spc="0" normalizeH="0" baseline="0" noProof="0">
                <a:ln>
                  <a:noFill/>
                </a:ln>
                <a:solidFill>
                  <a:prstClr val="white"/>
                </a:solidFill>
                <a:effectLst/>
                <a:uLnTx/>
                <a:uFillTx/>
                <a:latin typeface="Segoe UI"/>
                <a:ea typeface="+mn-ea"/>
                <a:cs typeface="+mn-cs"/>
              </a:endParaRPr>
            </a:p>
          </p:txBody>
        </p:sp>
      </p:grpSp>
      <p:sp>
        <p:nvSpPr>
          <p:cNvPr id="39" name="Left-Right Arrow 38"/>
          <p:cNvSpPr/>
          <p:nvPr/>
        </p:nvSpPr>
        <p:spPr>
          <a:xfrm>
            <a:off x="7088245" y="5388744"/>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7088244" y="2890042"/>
            <a:ext cx="593016" cy="451879"/>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69450" y="410777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p:cNvGrpSpPr/>
          <p:nvPr/>
        </p:nvGrpSpPr>
        <p:grpSpPr>
          <a:xfrm>
            <a:off x="10239295" y="5333142"/>
            <a:ext cx="425518" cy="422851"/>
            <a:chOff x="13858399" y="2733933"/>
            <a:chExt cx="425518" cy="422851"/>
          </a:xfrm>
        </p:grpSpPr>
        <p:grpSp>
          <p:nvGrpSpPr>
            <p:cNvPr id="141" name="Group 140"/>
            <p:cNvGrpSpPr/>
            <p:nvPr/>
          </p:nvGrpSpPr>
          <p:grpSpPr>
            <a:xfrm>
              <a:off x="13858399" y="2733933"/>
              <a:ext cx="425518" cy="422851"/>
              <a:chOff x="7536568" y="3223995"/>
              <a:chExt cx="617962" cy="614088"/>
            </a:xfrm>
          </p:grpSpPr>
          <p:sp>
            <p:nvSpPr>
              <p:cNvPr id="142" name="Freeform 141"/>
              <p:cNvSpPr/>
              <p:nvPr/>
            </p:nvSpPr>
            <p:spPr bwMode="auto">
              <a:xfrm>
                <a:off x="7536568" y="3293206"/>
                <a:ext cx="617962" cy="544877"/>
              </a:xfrm>
              <a:custGeom>
                <a:avLst/>
                <a:gdLst>
                  <a:gd name="connsiteX0" fmla="*/ 41421 w 617962"/>
                  <a:gd name="connsiteY0" fmla="*/ 141731 h 544877"/>
                  <a:gd name="connsiteX1" fmla="*/ 41421 w 617962"/>
                  <a:gd name="connsiteY1" fmla="*/ 481391 h 544877"/>
                  <a:gd name="connsiteX2" fmla="*/ 576542 w 617962"/>
                  <a:gd name="connsiteY2" fmla="*/ 481391 h 544877"/>
                  <a:gd name="connsiteX3" fmla="*/ 576542 w 617962"/>
                  <a:gd name="connsiteY3" fmla="*/ 141731 h 544877"/>
                  <a:gd name="connsiteX4" fmla="*/ 0 w 617962"/>
                  <a:gd name="connsiteY4" fmla="*/ 0 h 544877"/>
                  <a:gd name="connsiteX5" fmla="*/ 617962 w 617962"/>
                  <a:gd name="connsiteY5" fmla="*/ 0 h 544877"/>
                  <a:gd name="connsiteX6" fmla="*/ 617962 w 617962"/>
                  <a:gd name="connsiteY6" fmla="*/ 544877 h 544877"/>
                  <a:gd name="connsiteX7" fmla="*/ 0 w 617962"/>
                  <a:gd name="connsiteY7" fmla="*/ 544877 h 54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962" h="544877">
                    <a:moveTo>
                      <a:pt x="41421" y="141731"/>
                    </a:moveTo>
                    <a:lnTo>
                      <a:pt x="41421" y="481391"/>
                    </a:lnTo>
                    <a:lnTo>
                      <a:pt x="576542" y="481391"/>
                    </a:lnTo>
                    <a:lnTo>
                      <a:pt x="576542" y="141731"/>
                    </a:lnTo>
                    <a:close/>
                    <a:moveTo>
                      <a:pt x="0" y="0"/>
                    </a:moveTo>
                    <a:lnTo>
                      <a:pt x="617962" y="0"/>
                    </a:lnTo>
                    <a:lnTo>
                      <a:pt x="617962" y="544877"/>
                    </a:lnTo>
                    <a:lnTo>
                      <a:pt x="0" y="544877"/>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42"/>
              <p:cNvSpPr/>
              <p:nvPr/>
            </p:nvSpPr>
            <p:spPr bwMode="auto">
              <a:xfrm>
                <a:off x="7903231" y="3223995"/>
                <a:ext cx="205183" cy="29439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183" h="294392">
                    <a:moveTo>
                      <a:pt x="98131" y="0"/>
                    </a:moveTo>
                    <a:lnTo>
                      <a:pt x="0" y="165038"/>
                    </a:lnTo>
                    <a:lnTo>
                      <a:pt x="93671" y="165038"/>
                    </a:lnTo>
                    <a:lnTo>
                      <a:pt x="17842" y="294392"/>
                    </a:lnTo>
                    <a:lnTo>
                      <a:pt x="205183" y="120433"/>
                    </a:lnTo>
                    <a:lnTo>
                      <a:pt x="124894" y="115972"/>
                    </a:lnTo>
                    <a:lnTo>
                      <a:pt x="196262" y="13381"/>
                    </a:lnTo>
                    <a:lnTo>
                      <a:pt x="98131" y="0"/>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4" name="Freeform 143"/>
            <p:cNvSpPr/>
            <p:nvPr/>
          </p:nvSpPr>
          <p:spPr bwMode="auto">
            <a:xfrm>
              <a:off x="14119326" y="2749359"/>
              <a:ext cx="122921" cy="171712"/>
            </a:xfrm>
            <a:custGeom>
              <a:avLst/>
              <a:gdLst>
                <a:gd name="connsiteX0" fmla="*/ 98131 w 205183"/>
                <a:gd name="connsiteY0" fmla="*/ 0 h 294392"/>
                <a:gd name="connsiteX1" fmla="*/ 0 w 205183"/>
                <a:gd name="connsiteY1" fmla="*/ 165038 h 294392"/>
                <a:gd name="connsiteX2" fmla="*/ 93671 w 205183"/>
                <a:gd name="connsiteY2" fmla="*/ 165038 h 294392"/>
                <a:gd name="connsiteX3" fmla="*/ 17842 w 205183"/>
                <a:gd name="connsiteY3" fmla="*/ 294392 h 294392"/>
                <a:gd name="connsiteX4" fmla="*/ 205183 w 205183"/>
                <a:gd name="connsiteY4" fmla="*/ 120433 h 294392"/>
                <a:gd name="connsiteX5" fmla="*/ 124894 w 205183"/>
                <a:gd name="connsiteY5" fmla="*/ 115972 h 294392"/>
                <a:gd name="connsiteX6" fmla="*/ 196262 w 205183"/>
                <a:gd name="connsiteY6" fmla="*/ 13381 h 294392"/>
                <a:gd name="connsiteX7" fmla="*/ 98131 w 205183"/>
                <a:gd name="connsiteY7" fmla="*/ 0 h 294392"/>
                <a:gd name="connsiteX0" fmla="*/ 98131 w 223336"/>
                <a:gd name="connsiteY0" fmla="*/ 0 h 294392"/>
                <a:gd name="connsiteX1" fmla="*/ 0 w 223336"/>
                <a:gd name="connsiteY1" fmla="*/ 165038 h 294392"/>
                <a:gd name="connsiteX2" fmla="*/ 93671 w 223336"/>
                <a:gd name="connsiteY2" fmla="*/ 165038 h 294392"/>
                <a:gd name="connsiteX3" fmla="*/ 17842 w 223336"/>
                <a:gd name="connsiteY3" fmla="*/ 294392 h 294392"/>
                <a:gd name="connsiteX4" fmla="*/ 223336 w 223336"/>
                <a:gd name="connsiteY4" fmla="*/ 123197 h 294392"/>
                <a:gd name="connsiteX5" fmla="*/ 124894 w 223336"/>
                <a:gd name="connsiteY5" fmla="*/ 115972 h 294392"/>
                <a:gd name="connsiteX6" fmla="*/ 196262 w 223336"/>
                <a:gd name="connsiteY6" fmla="*/ 13381 h 294392"/>
                <a:gd name="connsiteX7" fmla="*/ 98131 w 223336"/>
                <a:gd name="connsiteY7" fmla="*/ 0 h 294392"/>
                <a:gd name="connsiteX0" fmla="*/ 98131 w 223336"/>
                <a:gd name="connsiteY0" fmla="*/ 0 h 298077"/>
                <a:gd name="connsiteX1" fmla="*/ 0 w 223336"/>
                <a:gd name="connsiteY1" fmla="*/ 165038 h 298077"/>
                <a:gd name="connsiteX2" fmla="*/ 93671 w 223336"/>
                <a:gd name="connsiteY2" fmla="*/ 165038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09912 w 223336"/>
                <a:gd name="connsiteY2" fmla="*/ 163196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298077"/>
                <a:gd name="connsiteX1" fmla="*/ 0 w 223336"/>
                <a:gd name="connsiteY1" fmla="*/ 165038 h 298077"/>
                <a:gd name="connsiteX2" fmla="*/ 119466 w 223336"/>
                <a:gd name="connsiteY2" fmla="*/ 165039 h 298077"/>
                <a:gd name="connsiteX3" fmla="*/ 26440 w 223336"/>
                <a:gd name="connsiteY3" fmla="*/ 298077 h 298077"/>
                <a:gd name="connsiteX4" fmla="*/ 223336 w 223336"/>
                <a:gd name="connsiteY4" fmla="*/ 123197 h 298077"/>
                <a:gd name="connsiteX5" fmla="*/ 124894 w 223336"/>
                <a:gd name="connsiteY5" fmla="*/ 115972 h 298077"/>
                <a:gd name="connsiteX6" fmla="*/ 196262 w 223336"/>
                <a:gd name="connsiteY6" fmla="*/ 13381 h 298077"/>
                <a:gd name="connsiteX7" fmla="*/ 98131 w 223336"/>
                <a:gd name="connsiteY7" fmla="*/ 0 h 298077"/>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4 w 223336"/>
                <a:gd name="connsiteY5" fmla="*/ 115972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3938 w 223336"/>
                <a:gd name="connsiteY5" fmla="*/ 119657 h 300841"/>
                <a:gd name="connsiteX6" fmla="*/ 196262 w 223336"/>
                <a:gd name="connsiteY6" fmla="*/ 13381 h 300841"/>
                <a:gd name="connsiteX7" fmla="*/ 98131 w 223336"/>
                <a:gd name="connsiteY7" fmla="*/ 0 h 300841"/>
                <a:gd name="connsiteX0" fmla="*/ 98131 w 223336"/>
                <a:gd name="connsiteY0" fmla="*/ 0 h 300841"/>
                <a:gd name="connsiteX1" fmla="*/ 0 w 223336"/>
                <a:gd name="connsiteY1" fmla="*/ 165038 h 300841"/>
                <a:gd name="connsiteX2" fmla="*/ 119466 w 223336"/>
                <a:gd name="connsiteY2" fmla="*/ 165039 h 300841"/>
                <a:gd name="connsiteX3" fmla="*/ 28351 w 223336"/>
                <a:gd name="connsiteY3" fmla="*/ 300841 h 300841"/>
                <a:gd name="connsiteX4" fmla="*/ 223336 w 223336"/>
                <a:gd name="connsiteY4" fmla="*/ 123197 h 300841"/>
                <a:gd name="connsiteX5" fmla="*/ 124893 w 223336"/>
                <a:gd name="connsiteY5" fmla="*/ 117815 h 300841"/>
                <a:gd name="connsiteX6" fmla="*/ 196262 w 223336"/>
                <a:gd name="connsiteY6" fmla="*/ 13381 h 300841"/>
                <a:gd name="connsiteX7" fmla="*/ 98131 w 223336"/>
                <a:gd name="connsiteY7" fmla="*/ 0 h 30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36" h="300841">
                  <a:moveTo>
                    <a:pt x="98131" y="0"/>
                  </a:moveTo>
                  <a:lnTo>
                    <a:pt x="0" y="165038"/>
                  </a:lnTo>
                  <a:lnTo>
                    <a:pt x="119466" y="165039"/>
                  </a:lnTo>
                  <a:lnTo>
                    <a:pt x="28351" y="300841"/>
                  </a:lnTo>
                  <a:lnTo>
                    <a:pt x="223336" y="123197"/>
                  </a:lnTo>
                  <a:lnTo>
                    <a:pt x="124893" y="117815"/>
                  </a:lnTo>
                  <a:lnTo>
                    <a:pt x="196262" y="13381"/>
                  </a:lnTo>
                  <a:lnTo>
                    <a:pt x="98131" y="0"/>
                  </a:lnTo>
                  <a:close/>
                </a:path>
              </a:pathLst>
            </a:cu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 name="Group 12"/>
          <p:cNvGrpSpPr/>
          <p:nvPr/>
        </p:nvGrpSpPr>
        <p:grpSpPr>
          <a:xfrm>
            <a:off x="10079835" y="4012100"/>
            <a:ext cx="665860" cy="580576"/>
            <a:chOff x="10444863" y="4012100"/>
            <a:chExt cx="665860" cy="580576"/>
          </a:xfrm>
        </p:grpSpPr>
        <p:sp>
          <p:nvSpPr>
            <p:cNvPr id="159" name="Freeform 158"/>
            <p:cNvSpPr>
              <a:spLocks noEditPoints="1"/>
            </p:cNvSpPr>
            <p:nvPr/>
          </p:nvSpPr>
          <p:spPr bwMode="auto">
            <a:xfrm>
              <a:off x="10444863" y="4012100"/>
              <a:ext cx="428972" cy="431004"/>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Freeform 161"/>
            <p:cNvSpPr>
              <a:spLocks noEditPoints="1"/>
            </p:cNvSpPr>
            <p:nvPr/>
          </p:nvSpPr>
          <p:spPr bwMode="auto">
            <a:xfrm>
              <a:off x="10848628" y="4056299"/>
              <a:ext cx="262095" cy="263336"/>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Freeform 162"/>
            <p:cNvSpPr>
              <a:spLocks noEditPoints="1"/>
            </p:cNvSpPr>
            <p:nvPr/>
          </p:nvSpPr>
          <p:spPr bwMode="auto">
            <a:xfrm>
              <a:off x="10744655" y="4276436"/>
              <a:ext cx="314749" cy="31624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marL="0" marR="0" lvl="0" indent="0" algn="ctr" defTabSz="93240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1" name="Group 180"/>
          <p:cNvGrpSpPr/>
          <p:nvPr/>
        </p:nvGrpSpPr>
        <p:grpSpPr>
          <a:xfrm>
            <a:off x="3635976" y="3140988"/>
            <a:ext cx="782946" cy="489587"/>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marL="0" marR="0" lvl="0" indent="0" algn="ctr" defTabSz="932742" rtl="0" eaLnBrk="1" fontAlgn="auto" latinLnBrk="0" hangingPunct="1">
                <a:lnSpc>
                  <a:spcPct val="80000"/>
                </a:lnSpc>
                <a:spcBef>
                  <a:spcPts val="0"/>
                </a:spcBef>
                <a:spcAft>
                  <a:spcPts val="0"/>
                </a:spcAft>
                <a:buClrTx/>
                <a:buSzTx/>
                <a:buFontTx/>
                <a:buNone/>
                <a:tabLst/>
                <a:defRPr/>
              </a:pPr>
              <a:endParaRPr kumimoji="0" lang="en-US" sz="4400" b="0" i="0" u="none" strike="noStrike" kern="1200" cap="none" spc="-150" normalizeH="0" baseline="0" noProof="0">
                <a:ln>
                  <a:noFill/>
                </a:ln>
                <a:solidFill>
                  <a:srgbClr val="FFFFFF"/>
                </a:solidFill>
                <a:effectLst/>
                <a:uLnTx/>
                <a:uFillTx/>
                <a:latin typeface="Segoe UI Light"/>
                <a:ea typeface="+mn-ea"/>
                <a:cs typeface="+mn-cs"/>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marL="0" marR="0" lvl="0" indent="0" algn="l" defTabSz="932406"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sp>
        <p:nvSpPr>
          <p:cNvPr id="4" name="IoT"/>
          <p:cNvSpPr/>
          <p:nvPr/>
        </p:nvSpPr>
        <p:spPr>
          <a:xfrm>
            <a:off x="5058906" y="2429041"/>
            <a:ext cx="1782316" cy="372639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marL="0" marR="0" lvl="0" indent="0" algn="l" defTabSz="913748" rtl="0" eaLnBrk="1" fontAlgn="base"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Segoe UI Semibold" panose="020B0702040204020203" pitchFamily="34" charset="0"/>
                <a:ea typeface="Segoe UI" pitchFamily="34" charset="0"/>
                <a:cs typeface="Segoe UI" pitchFamily="34" charset="0"/>
              </a:rPr>
              <a:t>IoT Hub</a:t>
            </a:r>
          </a:p>
        </p:txBody>
      </p:sp>
      <p:sp>
        <p:nvSpPr>
          <p:cNvPr id="61" name="Freeform 60"/>
          <p:cNvSpPr>
            <a:spLocks noChangeAspect="1"/>
          </p:cNvSpPr>
          <p:nvPr/>
        </p:nvSpPr>
        <p:spPr bwMode="auto">
          <a:xfrm rot="5280000">
            <a:off x="5534908" y="3764342"/>
            <a:ext cx="830312" cy="1055797"/>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gradFill>
            <a:gsLst>
              <a:gs pos="50000">
                <a:srgbClr val="5EB6DA"/>
              </a:gs>
              <a:gs pos="50000">
                <a:srgbClr val="3999C6"/>
              </a:gs>
            </a:gsLst>
            <a:lin ang="6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eaLnBrk="1" fontAlgn="auto" hangingPunct="1">
              <a:spcBef>
                <a:spcPts val="0"/>
              </a:spcBef>
              <a:spcAft>
                <a:spcPts val="0"/>
              </a:spcAft>
            </a:pPr>
            <a:endParaRPr lang="en-US" sz="80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6" name="Group 15"/>
          <p:cNvGrpSpPr/>
          <p:nvPr/>
        </p:nvGrpSpPr>
        <p:grpSpPr>
          <a:xfrm>
            <a:off x="9510041" y="2602013"/>
            <a:ext cx="1428873" cy="80437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r>
                  <a:rPr lang="en-US" sz="600" b="1" dirty="0">
                    <a:solidFill>
                      <a:srgbClr val="B9D80A"/>
                    </a:solidFill>
                    <a:latin typeface="OCR A Extended" panose="02010509020102010303" pitchFamily="50" charset="0"/>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grpSp>
        <p:grpSp>
          <p:nvGrpSpPr>
            <p:cNvPr id="7" name="Group 6"/>
            <p:cNvGrpSpPr/>
            <p:nvPr/>
          </p:nvGrpSpPr>
          <p:grpSpPr>
            <a:xfrm>
              <a:off x="8421098" y="2926394"/>
              <a:ext cx="622292" cy="776537"/>
              <a:chOff x="8467245" y="2757788"/>
              <a:chExt cx="622292" cy="776537"/>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tx1"/>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r>
                    <a:rPr lang="en-US" sz="800" b="1" dirty="0">
                      <a:solidFill>
                        <a:schemeClr val="bg1"/>
                      </a:solidFill>
                      <a:latin typeface="OCR A Extended" panose="02010509020102010303" pitchFamily="50" charset="0"/>
                      <a:cs typeface="Courier New" panose="02070309020205020404" pitchFamily="49" charset="0"/>
                    </a:rPr>
                    <a:t>0</a:t>
                  </a:r>
                </a:p>
              </p:txBody>
            </p:sp>
          </p:grpSp>
          <p:sp>
            <p:nvSpPr>
              <p:cNvPr id="105" name="Donut 104"/>
              <p:cNvSpPr/>
              <p:nvPr/>
            </p:nvSpPr>
            <p:spPr>
              <a:xfrm>
                <a:off x="8512459" y="2757788"/>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solidFill>
                    <a:schemeClr val="accent2">
                      <a:lumMod val="20000"/>
                      <a:lumOff val="80000"/>
                    </a:scheme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endParaRPr lang="en-US" sz="100" dirty="0">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r>
                <a:rPr lang="en-US" sz="600" b="1" dirty="0">
                  <a:solidFill>
                    <a:schemeClr val="accent6"/>
                  </a:solidFill>
                  <a:latin typeface="OCR A Extended" panose="02010509020102010303" pitchFamily="50" charset="0"/>
                  <a:cs typeface="Courier New" panose="02070309020205020404" pitchFamily="49" charset="0"/>
                </a:rPr>
                <a:t>0</a:t>
              </a:r>
            </a:p>
          </p:txBody>
        </p:sp>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250"/>
                                        <p:tgtEl>
                                          <p:spTgt spid="37"/>
                                        </p:tgtEl>
                                      </p:cBhvr>
                                    </p:animEffect>
                                  </p:childTnLst>
                                </p:cTn>
                              </p:par>
                              <p:par>
                                <p:cTn id="77" presetID="10" presetClass="entr" presetSubtype="0" fill="hold"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fade">
                                      <p:cBhvr>
                                        <p:cTn id="84" dur="250"/>
                                        <p:tgtEl>
                                          <p:spTgt spid="5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25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13"/>
                                        </p:tgtEl>
                                        <p:attrNameLst>
                                          <p:attrName>style.visibility</p:attrName>
                                        </p:attrNameLst>
                                      </p:cBhvr>
                                      <p:to>
                                        <p:strVal val="visible"/>
                                      </p:to>
                                    </p:set>
                                    <p:animEffect transition="in" filter="fade">
                                      <p:cBhvr>
                                        <p:cTn id="90" dur="250"/>
                                        <p:tgtEl>
                                          <p:spTgt spid="1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250"/>
                                        <p:tgtEl>
                                          <p:spTgt spid="3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83"/>
                                        </p:tgtEl>
                                        <p:attrNameLst>
                                          <p:attrName>style.visibility</p:attrName>
                                        </p:attrNameLst>
                                      </p:cBhvr>
                                      <p:to>
                                        <p:strVal val="visible"/>
                                      </p:to>
                                    </p:set>
                                    <p:animEffect transition="in" filter="fade">
                                      <p:cBhvr>
                                        <p:cTn id="98" dur="250"/>
                                        <p:tgtEl>
                                          <p:spTgt spid="83"/>
                                        </p:tgtEl>
                                      </p:cBhvr>
                                    </p:animEffect>
                                  </p:childTnLst>
                                </p:cTn>
                              </p:par>
                              <p:par>
                                <p:cTn id="99" presetID="10" presetClass="entr" presetSubtype="0" fill="hold"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37" grpId="0" animBg="1"/>
      <p:bldP spid="51" grpId="0" animBg="1"/>
      <p:bldP spid="78" grpId="0" animBg="1"/>
      <p:bldP spid="83" grpId="0" animBg="1"/>
      <p:bldP spid="95" grpId="0"/>
      <p:bldP spid="96" grpId="0"/>
      <p:bldP spid="39" grpId="0" animBg="1"/>
      <p:bldP spid="40" grpId="0" animBg="1"/>
      <p:bldP spid="9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Why use IoT Hub?</a:t>
            </a:r>
            <a:endParaRPr lang="en-US" dirty="0"/>
          </a:p>
        </p:txBody>
      </p:sp>
      <p:sp>
        <p:nvSpPr>
          <p:cNvPr id="7" name="Rectangle 6"/>
          <p:cNvSpPr/>
          <p:nvPr/>
        </p:nvSpPr>
        <p:spPr bwMode="auto">
          <a:xfrm>
            <a:off x="741478" y="3899990"/>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Device authentication &amp; security</a:t>
            </a:r>
          </a:p>
        </p:txBody>
      </p:sp>
      <p:sp>
        <p:nvSpPr>
          <p:cNvPr id="8" name="Rectangle 7"/>
          <p:cNvSpPr/>
          <p:nvPr/>
        </p:nvSpPr>
        <p:spPr bwMode="auto">
          <a:xfrm>
            <a:off x="741478" y="457658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ervice-facing</a:t>
            </a:r>
            <a:r>
              <a:rPr kumimoji="0" lang="en-US" sz="2000" b="0" i="0" u="none" strike="noStrike" kern="1200" cap="none" spc="0" normalizeH="0" noProof="0" dirty="0">
                <a:ln>
                  <a:noFill/>
                </a:ln>
                <a:solidFill>
                  <a:srgbClr val="FFFFFF"/>
                </a:solidFill>
                <a:effectLst/>
                <a:uLnTx/>
                <a:uFillTx/>
                <a:latin typeface="Segoe UI"/>
                <a:ea typeface="+mn-ea"/>
                <a:cs typeface="+mn-cs"/>
              </a:rPr>
              <a:t> d</a:t>
            </a:r>
            <a:r>
              <a:rPr kumimoji="0" lang="en-US" sz="2000" b="0" i="0" u="none" strike="noStrike" kern="1200" cap="none" spc="0" normalizeH="0" baseline="0" noProof="0" dirty="0">
                <a:ln>
                  <a:noFill/>
                </a:ln>
                <a:solidFill>
                  <a:srgbClr val="FFFFFF"/>
                </a:solidFill>
                <a:effectLst/>
                <a:uLnTx/>
                <a:uFillTx/>
                <a:latin typeface="Segoe UI"/>
                <a:ea typeface="+mn-ea"/>
                <a:cs typeface="+mn-cs"/>
              </a:rPr>
              <a:t>evice connectivity monitoring</a:t>
            </a:r>
          </a:p>
        </p:txBody>
      </p:sp>
      <p:sp>
        <p:nvSpPr>
          <p:cNvPr id="9" name="Rectangle 8"/>
          <p:cNvSpPr/>
          <p:nvPr/>
        </p:nvSpPr>
        <p:spPr bwMode="auto">
          <a:xfrm>
            <a:off x="741478" y="3223395"/>
            <a:ext cx="11051584" cy="492443"/>
          </a:xfrm>
          <a:prstGeom prst="rect">
            <a:avLst/>
          </a:prstGeom>
          <a:solidFill>
            <a:schemeClr val="accent3">
              <a:alpha val="45000"/>
            </a:schemeClr>
          </a:solidFill>
        </p:spPr>
        <p:txBody>
          <a:bodyPr wrap="square" lIns="91440" tIns="91440" rIns="0" bIns="9144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a:ea typeface="+mn-ea"/>
                <a:cs typeface="+mn-cs"/>
              </a:rPr>
              <a:t>Scale up to millions of simultaneously connected devices</a:t>
            </a:r>
          </a:p>
        </p:txBody>
      </p:sp>
      <p:sp>
        <p:nvSpPr>
          <p:cNvPr id="10" name="Rectangle 9"/>
          <p:cNvSpPr/>
          <p:nvPr/>
        </p:nvSpPr>
        <p:spPr bwMode="auto">
          <a:xfrm>
            <a:off x="741478" y="5253180"/>
            <a:ext cx="11051584" cy="492443"/>
          </a:xfrm>
          <a:prstGeom prst="rect">
            <a:avLst/>
          </a:prstGeom>
          <a:solidFill>
            <a:schemeClr val="accent3">
              <a:alpha val="45000"/>
            </a:schemeClr>
          </a:solidFill>
        </p:spPr>
        <p:txBody>
          <a:bodyPr wrap="square" lIns="91440" tIns="91440" rIns="0" bIns="91440" rtlCol="0">
            <a:spAutoFit/>
          </a:bodyPr>
          <a:lstStyle/>
          <a:p>
            <a:pPr defTabSz="932597" eaLnBrk="1" fontAlgn="auto" hangingPunct="1">
              <a:spcBef>
                <a:spcPts val="0"/>
              </a:spcBef>
              <a:spcAft>
                <a:spcPts val="0"/>
              </a:spcAft>
            </a:pPr>
            <a:r>
              <a:rPr lang="en-US" sz="2000" dirty="0" err="1">
                <a:solidFill>
                  <a:srgbClr val="FFFFFF"/>
                </a:solidFill>
                <a:latin typeface="Segoe UI"/>
                <a:ea typeface="+mn-ea"/>
              </a:rPr>
              <a:t>IoT</a:t>
            </a:r>
            <a:r>
              <a:rPr lang="en-US" sz="2000" dirty="0">
                <a:solidFill>
                  <a:srgbClr val="FFFFFF"/>
                </a:solidFill>
                <a:latin typeface="Segoe UI"/>
                <a:ea typeface="+mn-ea"/>
              </a:rPr>
              <a:t> protocols, device resource optimization</a:t>
            </a:r>
          </a:p>
        </p:txBody>
      </p:sp>
      <p:sp>
        <p:nvSpPr>
          <p:cNvPr id="11" name="Rectangle 10"/>
          <p:cNvSpPr/>
          <p:nvPr/>
        </p:nvSpPr>
        <p:spPr bwMode="auto">
          <a:xfrm>
            <a:off x="741478" y="2043499"/>
            <a:ext cx="312696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Device-to-cloud messaging</a:t>
            </a:r>
          </a:p>
        </p:txBody>
      </p:sp>
      <p:sp>
        <p:nvSpPr>
          <p:cNvPr id="12" name="Rectangle 11"/>
          <p:cNvSpPr/>
          <p:nvPr/>
        </p:nvSpPr>
        <p:spPr bwMode="auto">
          <a:xfrm>
            <a:off x="3982731" y="2039356"/>
            <a:ext cx="3149895" cy="1083465"/>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t" anchorCtr="0" forceAA="0" compatLnSpc="1">
            <a:prstTxWarp prst="textNoShape">
              <a:avLst/>
            </a:prstTxWarp>
            <a:noAutofit/>
          </a:bodyPr>
          <a:lstStyle/>
          <a:p>
            <a:pPr defTabSz="913748" eaLnBrk="1" hangingPunct="1">
              <a:lnSpc>
                <a:spcPct val="90000"/>
              </a:lnSpc>
              <a:spcAft>
                <a:spcPts val="0"/>
              </a:spcAft>
            </a:pPr>
            <a:r>
              <a:rPr lang="en-US" dirty="0">
                <a:solidFill>
                  <a:schemeClr val="tx1"/>
                </a:solidFill>
                <a:latin typeface="Segoe UI Semibold" panose="020B0702040204020203" pitchFamily="34" charset="0"/>
                <a:ea typeface="Segoe UI" pitchFamily="34" charset="0"/>
                <a:cs typeface="Segoe UI" pitchFamily="34" charset="0"/>
              </a:rPr>
              <a:t>Cloud-to-device messaging</a:t>
            </a:r>
          </a:p>
        </p:txBody>
      </p:sp>
      <p:sp>
        <p:nvSpPr>
          <p:cNvPr id="13" name="Rectangle 12"/>
          <p:cNvSpPr/>
          <p:nvPr/>
        </p:nvSpPr>
        <p:spPr bwMode="auto">
          <a:xfrm>
            <a:off x="7246914" y="2039356"/>
            <a:ext cx="1339475" cy="1083465"/>
          </a:xfrm>
          <a:prstGeom prst="rect">
            <a:avLst/>
          </a:prstGeom>
          <a:noFill/>
          <a:ln w="38100">
            <a:solidFill>
              <a:schemeClr val="accent4"/>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eaLnBrk="1" hangingPunct="1">
              <a:lnSpc>
                <a:spcPct val="90000"/>
              </a:lnSpc>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8718510" y="2047854"/>
            <a:ext cx="1312046" cy="1083465"/>
          </a:xfrm>
          <a:prstGeom prst="rect">
            <a:avLst/>
          </a:prstGeom>
          <a:noFill/>
          <a:ln w="38100">
            <a:solidFill>
              <a:schemeClr val="accent4"/>
            </a:solidFill>
            <a:prstDash val="dash"/>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57785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768300"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itle 1"/>
          <p:cNvSpPr>
            <a:spLocks noGrp="1"/>
          </p:cNvSpPr>
          <p:nvPr>
            <p:ph type="title" idx="4294967295"/>
          </p:nvPr>
        </p:nvSpPr>
        <p:spPr>
          <a:xfrm>
            <a:off x="427037" y="19395"/>
            <a:ext cx="11887200" cy="917575"/>
          </a:xfrm>
        </p:spPr>
        <p:txBody>
          <a:bodyPr/>
          <a:lstStyle/>
          <a:p>
            <a:r>
              <a:rPr lang="sv-SE" dirty="0"/>
              <a:t>Information Exchange Patterns</a:t>
            </a:r>
            <a:br>
              <a:rPr lang="sv-SE" dirty="0"/>
            </a:br>
            <a:r>
              <a:rPr lang="sv-SE" sz="4000" dirty="0">
                <a:solidFill>
                  <a:schemeClr val="tx2"/>
                </a:solidFill>
              </a:rPr>
              <a:t>Basics of IoT Communication</a:t>
            </a:r>
            <a:endParaRPr lang="en-IN" sz="4000" dirty="0">
              <a:solidFill>
                <a:schemeClr val="tx2"/>
              </a:solidFill>
            </a:endParaRPr>
          </a:p>
        </p:txBody>
      </p:sp>
      <p:grpSp>
        <p:nvGrpSpPr>
          <p:cNvPr id="3" name="Group 2"/>
          <p:cNvGrpSpPr/>
          <p:nvPr/>
        </p:nvGrpSpPr>
        <p:grpSpPr>
          <a:xfrm>
            <a:off x="199155" y="4968721"/>
            <a:ext cx="3045531" cy="1695613"/>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Telemetry</a:t>
              </a:r>
            </a:p>
          </p:txBody>
        </p:sp>
        <p:sp>
          <p:nvSpPr>
            <p:cNvPr id="32" name="TextBox 31"/>
            <p:cNvSpPr txBox="1"/>
            <p:nvPr/>
          </p:nvSpPr>
          <p:spPr>
            <a:xfrm>
              <a:off x="199155"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a device to other systems for conveying status of device and environment </a:t>
              </a:r>
            </a:p>
          </p:txBody>
        </p:sp>
      </p:grpSp>
      <p:grpSp>
        <p:nvGrpSpPr>
          <p:cNvPr id="4" name="Group 3"/>
          <p:cNvGrpSpPr/>
          <p:nvPr/>
        </p:nvGrpSpPr>
        <p:grpSpPr>
          <a:xfrm>
            <a:off x="3172706" y="4968721"/>
            <a:ext cx="3045531" cy="1695613"/>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Inquiries</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Requests from devices looking to gather required information or to initiate activities </a:t>
              </a:r>
            </a:p>
          </p:txBody>
        </p:sp>
      </p:grpSp>
      <p:grpSp>
        <p:nvGrpSpPr>
          <p:cNvPr id="5" name="Group 4"/>
          <p:cNvGrpSpPr/>
          <p:nvPr/>
        </p:nvGrpSpPr>
        <p:grpSpPr>
          <a:xfrm>
            <a:off x="6296906" y="4968721"/>
            <a:ext cx="3045531" cy="1695613"/>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Commands</a:t>
              </a:r>
            </a:p>
          </p:txBody>
        </p:sp>
        <p:sp>
          <p:nvSpPr>
            <p:cNvPr id="45" name="TextBox 44"/>
            <p:cNvSpPr txBox="1"/>
            <p:nvPr/>
          </p:nvSpPr>
          <p:spPr>
            <a:xfrm>
              <a:off x="62969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ommands from other systems to a device or a group of devices to perform specific activities</a:t>
              </a:r>
            </a:p>
          </p:txBody>
        </p:sp>
      </p:grpSp>
      <p:grpSp>
        <p:nvGrpSpPr>
          <p:cNvPr id="6" name="Group 5"/>
          <p:cNvGrpSpPr/>
          <p:nvPr/>
        </p:nvGrpSpPr>
        <p:grpSpPr>
          <a:xfrm>
            <a:off x="9268706" y="4968721"/>
            <a:ext cx="3045531" cy="1695613"/>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Notifications</a:t>
              </a:r>
            </a:p>
          </p:txBody>
        </p:sp>
        <p:sp>
          <p:nvSpPr>
            <p:cNvPr id="51" name="TextBox 50"/>
            <p:cNvSpPr txBox="1"/>
            <p:nvPr/>
          </p:nvSpPr>
          <p:spPr>
            <a:xfrm>
              <a:off x="9268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Information flowing from other systems to a device (group) for conveying status changes</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6" name="Frame 5"/>
          <p:cNvSpPr>
            <a:spLocks noChangeAspect="1"/>
          </p:cNvSpPr>
          <p:nvPr/>
        </p:nvSpPr>
        <p:spPr bwMode="auto">
          <a:xfrm>
            <a:off x="4326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57" name="Frame 5"/>
          <p:cNvSpPr>
            <a:spLocks noChangeAspect="1"/>
          </p:cNvSpPr>
          <p:nvPr/>
        </p:nvSpPr>
        <p:spPr bwMode="auto">
          <a:xfrm>
            <a:off x="104221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312878" y="4245762"/>
            <a:ext cx="818085" cy="818085"/>
          </a:xfrm>
          <a:prstGeom prst="rect">
            <a:avLst/>
          </a:prstGeom>
        </p:spPr>
      </p:pic>
      <p:pic>
        <p:nvPicPr>
          <p:cNvPr id="59" name="Picture 5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4286429" y="4245762"/>
            <a:ext cx="818085" cy="818085"/>
          </a:xfrm>
          <a:prstGeom prst="rect">
            <a:avLst/>
          </a:prstGeom>
        </p:spPr>
      </p:pic>
      <p:pic>
        <p:nvPicPr>
          <p:cNvPr id="60" name="Picture 59"/>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7410629" y="4245762"/>
            <a:ext cx="818085" cy="818085"/>
          </a:xfrm>
          <a:prstGeom prst="rect">
            <a:avLst/>
          </a:prstGeom>
        </p:spPr>
      </p:pic>
      <p:pic>
        <p:nvPicPr>
          <p:cNvPr id="61" name="Picture 60"/>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0382429" y="4245762"/>
            <a:ext cx="818085" cy="818085"/>
          </a:xfrm>
          <a:prstGeom prst="rect">
            <a:avLst/>
          </a:prstGeom>
        </p:spPr>
      </p:pic>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Striped Right Arrow 61"/>
          <p:cNvSpPr/>
          <p:nvPr/>
        </p:nvSpPr>
        <p:spPr bwMode="auto">
          <a:xfrm rot="16200000">
            <a:off x="4579091" y="3614607"/>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4" name="Striped Right Arrow 63"/>
          <p:cNvSpPr/>
          <p:nvPr/>
        </p:nvSpPr>
        <p:spPr bwMode="auto">
          <a:xfrm rot="16200000">
            <a:off x="10115260" y="3228748"/>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up)">
                                      <p:cBhvr>
                                        <p:cTn id="19" dur="500"/>
                                        <p:tgtEl>
                                          <p:spTgt spid="63"/>
                                        </p:tgtEl>
                                      </p:cBhvr>
                                    </p:animEffec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par>
                          <p:cTn id="23" fill="hold">
                            <p:stCondLst>
                              <p:cond delay="500"/>
                            </p:stCondLst>
                            <p:childTnLst>
                              <p:par>
                                <p:cTn id="24" presetID="22" presetClass="entr" presetSubtype="4" fill="hold" grpId="0" nodeType="after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wipe(down)">
                                      <p:cBhvr>
                                        <p:cTn id="26" dur="500"/>
                                        <p:tgtEl>
                                          <p:spTgt spid="62"/>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childTnLst>
                          </p:cTn>
                        </p:par>
                        <p:par>
                          <p:cTn id="35" fill="hold">
                            <p:stCondLst>
                              <p:cond delay="0"/>
                            </p:stCondLst>
                            <p:childTnLst>
                              <p:par>
                                <p:cTn id="36" presetID="22" presetClass="entr" presetSubtype="4" fill="hold" grpId="0" nodeType="afterEffect">
                                  <p:stCondLst>
                                    <p:cond delay="0"/>
                                  </p:stCondLst>
                                  <p:childTnLst>
                                    <p:set>
                                      <p:cBhvr>
                                        <p:cTn id="37" dur="1" fill="hold">
                                          <p:stCondLst>
                                            <p:cond delay="0"/>
                                          </p:stCondLst>
                                        </p:cTn>
                                        <p:tgtEl>
                                          <p:spTgt spid="65"/>
                                        </p:tgtEl>
                                        <p:attrNameLst>
                                          <p:attrName>style.visibility</p:attrName>
                                        </p:attrNameLst>
                                      </p:cBhvr>
                                      <p:to>
                                        <p:strVal val="visible"/>
                                      </p:to>
                                    </p:set>
                                    <p:animEffect transition="in" filter="wipe(down)">
                                      <p:cBhvr>
                                        <p:cTn id="38" dur="500"/>
                                        <p:tgtEl>
                                          <p:spTgt spid="65"/>
                                        </p:tgtEl>
                                      </p:cBhvr>
                                    </p:animEffect>
                                  </p:childTnLst>
                                </p:cTn>
                              </p:par>
                            </p:childTnLst>
                          </p:cTn>
                        </p:par>
                        <p:par>
                          <p:cTn id="39" fill="hold">
                            <p:stCondLst>
                              <p:cond delay="500"/>
                            </p:stCondLst>
                            <p:childTnLst>
                              <p:par>
                                <p:cTn id="40" presetID="22" presetClass="entr" presetSubtype="1" fill="hold" grpId="0" nodeType="after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wipe(up)">
                                      <p:cBhvr>
                                        <p:cTn id="42" dur="500"/>
                                        <p:tgtEl>
                                          <p:spTgt spid="66"/>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1"/>
                                        </p:tgtEl>
                                        <p:attrNameLst>
                                          <p:attrName>style.visibility</p:attrName>
                                        </p:attrNameLst>
                                      </p:cBhvr>
                                      <p:to>
                                        <p:strVal val="visible"/>
                                      </p:to>
                                    </p:set>
                                  </p:childTnLst>
                                </p:cTn>
                              </p:par>
                            </p:childTnLst>
                          </p:cTn>
                        </p:par>
                        <p:par>
                          <p:cTn id="51" fill="hold">
                            <p:stCondLst>
                              <p:cond delay="0"/>
                            </p:stCondLst>
                            <p:childTnLst>
                              <p:par>
                                <p:cTn id="52" presetID="22" presetClass="entr" presetSubtype="4" fill="hold" grpId="0" nodeType="after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7037" y="19395"/>
            <a:ext cx="11887200" cy="917575"/>
          </a:xfrm>
        </p:spPr>
        <p:txBody>
          <a:bodyPr/>
          <a:lstStyle/>
          <a:p>
            <a:r>
              <a:rPr lang="sv-SE" dirty="0"/>
              <a:t>Information Exchange Patterns</a:t>
            </a:r>
            <a:br>
              <a:rPr lang="sv-SE" dirty="0"/>
            </a:br>
            <a:r>
              <a:rPr lang="sv-SE" sz="4000" dirty="0">
                <a:solidFill>
                  <a:schemeClr val="tx2"/>
                </a:solidFill>
              </a:rPr>
              <a:t>Basics of IoT Communication</a:t>
            </a:r>
            <a:endParaRPr lang="en-IN" sz="4000" dirty="0">
              <a:solidFill>
                <a:schemeClr val="tx2"/>
              </a:solidFill>
            </a:endParaRPr>
          </a:p>
        </p:txBody>
      </p:sp>
      <p:grpSp>
        <p:nvGrpSpPr>
          <p:cNvPr id="10" name="Group 9">
            <a:extLst>
              <a:ext uri="{FF2B5EF4-FFF2-40B4-BE49-F238E27FC236}">
                <a16:creationId xmlns:a16="http://schemas.microsoft.com/office/drawing/2014/main" id="{D640C5BC-F69B-4C92-805F-F3396CCB485E}"/>
              </a:ext>
            </a:extLst>
          </p:cNvPr>
          <p:cNvGrpSpPr/>
          <p:nvPr/>
        </p:nvGrpSpPr>
        <p:grpSpPr>
          <a:xfrm>
            <a:off x="199155" y="1975428"/>
            <a:ext cx="3045531" cy="4439607"/>
            <a:chOff x="199155" y="1975428"/>
            <a:chExt cx="3045531" cy="4439607"/>
          </a:xfrm>
        </p:grpSpPr>
        <p:grpSp>
          <p:nvGrpSpPr>
            <p:cNvPr id="3" name="Group 2"/>
            <p:cNvGrpSpPr/>
            <p:nvPr/>
          </p:nvGrpSpPr>
          <p:grpSpPr>
            <a:xfrm>
              <a:off x="199155" y="4968721"/>
              <a:ext cx="3045531" cy="1446314"/>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Events</a:t>
                </a:r>
              </a:p>
            </p:txBody>
          </p:sp>
          <p:sp>
            <p:nvSpPr>
              <p:cNvPr id="32" name="TextBox 31"/>
              <p:cNvSpPr txBox="1"/>
              <p:nvPr/>
            </p:nvSpPr>
            <p:spPr>
              <a:xfrm>
                <a:off x="199155"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Massive stream of information. Managed outside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4" name="Frame 5"/>
            <p:cNvSpPr>
              <a:spLocks noChangeAspect="1"/>
            </p:cNvSpPr>
            <p:nvPr/>
          </p:nvSpPr>
          <p:spPr bwMode="auto">
            <a:xfrm>
              <a:off x="1352574"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8" name="Picture 57"/>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1312878" y="4245762"/>
              <a:ext cx="818085" cy="818085"/>
            </a:xfrm>
            <a:prstGeom prst="rect">
              <a:avLst/>
            </a:prstGeom>
          </p:spPr>
        </p:pic>
        <p:sp>
          <p:nvSpPr>
            <p:cNvPr id="9" name="Striped Right Arrow 8"/>
            <p:cNvSpPr/>
            <p:nvPr/>
          </p:nvSpPr>
          <p:spPr bwMode="auto">
            <a:xfrm rot="5400000">
              <a:off x="1045709" y="3249741"/>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11" name="Group 10">
            <a:extLst>
              <a:ext uri="{FF2B5EF4-FFF2-40B4-BE49-F238E27FC236}">
                <a16:creationId xmlns:a16="http://schemas.microsoft.com/office/drawing/2014/main" id="{881DF0A5-53C7-4DCA-AAFD-1A2F8AA2A9FA}"/>
              </a:ext>
            </a:extLst>
          </p:cNvPr>
          <p:cNvGrpSpPr/>
          <p:nvPr/>
        </p:nvGrpSpPr>
        <p:grpSpPr>
          <a:xfrm>
            <a:off x="3117576" y="1983152"/>
            <a:ext cx="3045531" cy="4439607"/>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ssaging</a:t>
                </a:r>
              </a:p>
            </p:txBody>
          </p:sp>
          <p:sp>
            <p:nvSpPr>
              <p:cNvPr id="51" name="TextBox 50"/>
              <p:cNvSpPr txBox="1"/>
              <p:nvPr/>
            </p:nvSpPr>
            <p:spPr>
              <a:xfrm>
                <a:off x="9268706" y="5371672"/>
                <a:ext cx="3045531" cy="1043363"/>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C2D communication using a pub</a:t>
                </a:r>
                <a:r>
                  <a:rPr lang="sv-SE" kern="0" dirty="0">
                    <a:gradFill>
                      <a:gsLst>
                        <a:gs pos="2917">
                          <a:srgbClr val="FFFFFF"/>
                        </a:gs>
                        <a:gs pos="30000">
                          <a:srgbClr val="FFFFFF"/>
                        </a:gs>
                      </a:gsLst>
                      <a:lin ang="5400000" scaled="0"/>
                    </a:gradFill>
                  </a:rPr>
                  <a:t>/</a:t>
                </a:r>
                <a:r>
                  <a:rPr lang="sv-SE" kern="0" dirty="0" err="1">
                    <a:gradFill>
                      <a:gsLst>
                        <a:gs pos="2917">
                          <a:srgbClr val="FFFFFF"/>
                        </a:gs>
                        <a:gs pos="30000">
                          <a:srgbClr val="FFFFFF"/>
                        </a:gs>
                      </a:gsLst>
                      <a:lin ang="5400000" scaled="0"/>
                    </a:gradFill>
                  </a:rPr>
                  <a:t>sub</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pattern</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using</a:t>
                </a:r>
                <a:r>
                  <a:rPr lang="sv-SE" kern="0" dirty="0">
                    <a:gradFill>
                      <a:gsLst>
                        <a:gs pos="2917">
                          <a:srgbClr val="FFFFFF"/>
                        </a:gs>
                        <a:gs pos="30000">
                          <a:srgbClr val="FFFFFF"/>
                        </a:gs>
                      </a:gsLst>
                      <a:lin ang="5400000" scaled="0"/>
                    </a:gradFill>
                  </a:rPr>
                  <a:t> </a:t>
                </a:r>
                <a:r>
                  <a:rPr lang="sv-SE" kern="0" dirty="0" err="1">
                    <a:gradFill>
                      <a:gsLst>
                        <a:gs pos="2917">
                          <a:srgbClr val="FFFFFF"/>
                        </a:gs>
                        <a:gs pos="30000">
                          <a:srgbClr val="FFFFFF"/>
                        </a:gs>
                      </a:gsLst>
                      <a:lin ang="5400000" scaled="0"/>
                    </a:gradFill>
                  </a:rPr>
                  <a:t>topics</a:t>
                </a:r>
                <a:r>
                  <a:rPr lang="sv-SE" kern="0" dirty="0">
                    <a:gradFill>
                      <a:gsLst>
                        <a:gs pos="2917">
                          <a:srgbClr val="FFFFFF"/>
                        </a:gs>
                        <a:gs pos="30000">
                          <a:srgbClr val="FFFFFF"/>
                        </a:gs>
                      </a:gsLst>
                      <a:lin ang="5400000" scaled="0"/>
                    </a:gradFill>
                  </a:rPr>
                  <a:t> &amp; </a:t>
                </a:r>
                <a:r>
                  <a:rPr lang="sv-SE" kern="0" dirty="0" err="1">
                    <a:gradFill>
                      <a:gsLst>
                        <a:gs pos="2917">
                          <a:srgbClr val="FFFFFF"/>
                        </a:gs>
                        <a:gs pos="30000">
                          <a:srgbClr val="FFFFFF"/>
                        </a:gs>
                      </a:gsLst>
                      <a:lin ang="5400000" scaled="0"/>
                    </a:gradFill>
                  </a:rPr>
                  <a:t>subscriptions</a:t>
                </a:r>
                <a:endParaRPr lang="en-GB" kern="0" dirty="0">
                  <a:gradFill>
                    <a:gsLst>
                      <a:gs pos="2917">
                        <a:srgbClr val="FFFFFF"/>
                      </a:gs>
                      <a:gs pos="30000">
                        <a:srgbClr val="FFFFFF"/>
                      </a:gs>
                    </a:gsLst>
                    <a:lin ang="5400000" scaled="0"/>
                  </a:gradFill>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60"/>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4231299" y="4253486"/>
              <a:ext cx="818085" cy="818085"/>
            </a:xfrm>
            <a:prstGeom prst="rect">
              <a:avLst/>
            </a:prstGeom>
          </p:spPr>
        </p:pic>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12" name="Group 11">
            <a:extLst>
              <a:ext uri="{FF2B5EF4-FFF2-40B4-BE49-F238E27FC236}">
                <a16:creationId xmlns:a16="http://schemas.microsoft.com/office/drawing/2014/main" id="{197C109B-949E-4286-8ADA-1D9C5CC2DE3C}"/>
              </a:ext>
            </a:extLst>
          </p:cNvPr>
          <p:cNvGrpSpPr/>
          <p:nvPr/>
        </p:nvGrpSpPr>
        <p:grpSpPr>
          <a:xfrm>
            <a:off x="6296906" y="1975428"/>
            <a:ext cx="3045531" cy="4938205"/>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Methods</a:t>
                </a:r>
              </a:p>
            </p:txBody>
          </p:sp>
          <p:sp>
            <p:nvSpPr>
              <p:cNvPr id="45" name="TextBox 44"/>
              <p:cNvSpPr txBox="1"/>
              <p:nvPr/>
            </p:nvSpPr>
            <p:spPr>
              <a:xfrm>
                <a:off x="6296906" y="5371672"/>
                <a:ext cx="3045531" cy="1541961"/>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7410629" y="4245762"/>
              <a:ext cx="818085" cy="818085"/>
            </a:xfrm>
            <a:prstGeom prst="rect">
              <a:avLst/>
            </a:prstGeom>
          </p:spPr>
        </p:pic>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8" name="Group 7">
            <a:extLst>
              <a:ext uri="{FF2B5EF4-FFF2-40B4-BE49-F238E27FC236}">
                <a16:creationId xmlns:a16="http://schemas.microsoft.com/office/drawing/2014/main" id="{2426117D-E826-4F5D-A5DA-BA630D003218}"/>
              </a:ext>
            </a:extLst>
          </p:cNvPr>
          <p:cNvGrpSpPr/>
          <p:nvPr/>
        </p:nvGrpSpPr>
        <p:grpSpPr>
          <a:xfrm>
            <a:off x="9394585" y="1983152"/>
            <a:ext cx="3045531" cy="4688906"/>
            <a:chOff x="-4755105" y="1485604"/>
            <a:chExt cx="3045531" cy="4688906"/>
          </a:xfrm>
        </p:grpSpPr>
        <p:grpSp>
          <p:nvGrpSpPr>
            <p:cNvPr id="4" name="Group 3"/>
            <p:cNvGrpSpPr/>
            <p:nvPr/>
          </p:nvGrpSpPr>
          <p:grpSpPr>
            <a:xfrm>
              <a:off x="-4755105" y="4478897"/>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82880" tIns="146304" rIns="182880" bIns="146304" rtlCol="0">
                <a:spAutoFit/>
              </a:bodyPr>
              <a:lstStyle/>
              <a:p>
                <a:pPr defTabSz="914400">
                  <a:lnSpc>
                    <a:spcPct val="90000"/>
                  </a:lnSpc>
                  <a:spcAft>
                    <a:spcPts val="600"/>
                  </a:spcAft>
                  <a:defRPr/>
                </a:pPr>
                <a:r>
                  <a:rPr lang="en-GB" b="1" kern="0" dirty="0">
                    <a:gradFill>
                      <a:gsLst>
                        <a:gs pos="2917">
                          <a:srgbClr val="FFFFFF"/>
                        </a:gs>
                        <a:gs pos="30000">
                          <a:srgbClr val="FFFFFF"/>
                        </a:gs>
                      </a:gsLst>
                      <a:lin ang="5400000" scaled="0"/>
                    </a:gradFill>
                  </a:rPr>
                  <a:t>State</a:t>
                </a:r>
              </a:p>
            </p:txBody>
          </p:sp>
          <p:sp>
            <p:nvSpPr>
              <p:cNvPr id="38" name="TextBox 37"/>
              <p:cNvSpPr txBox="1"/>
              <p:nvPr/>
            </p:nvSpPr>
            <p:spPr>
              <a:xfrm>
                <a:off x="3172706" y="5371672"/>
                <a:ext cx="3045531" cy="1292662"/>
              </a:xfrm>
              <a:prstGeom prst="rect">
                <a:avLst/>
              </a:prstGeom>
              <a:noFill/>
            </p:spPr>
            <p:txBody>
              <a:bodyPr wrap="square" lIns="182880" tIns="146304" rIns="182880" bIns="146304" rtlCol="0">
                <a:spAutoFit/>
              </a:bodyPr>
              <a:lstStyle/>
              <a:p>
                <a:pPr defTabSz="914400">
                  <a:lnSpc>
                    <a:spcPct val="90000"/>
                  </a:lnSpc>
                  <a:spcAft>
                    <a:spcPts val="600"/>
                  </a:spcAft>
                  <a:defRPr/>
                </a:pPr>
                <a:r>
                  <a:rPr lang="en-GB" kern="0" dirty="0">
                    <a:gradFill>
                      <a:gsLst>
                        <a:gs pos="2917">
                          <a:srgbClr val="FFFFFF"/>
                        </a:gs>
                        <a:gs pos="30000">
                          <a:srgbClr val="FFFFFF"/>
                        </a:gs>
                      </a:gsLst>
                      <a:lin ang="5400000" scaled="0"/>
                    </a:gradFill>
                  </a:rPr>
                  <a:t>Device state is exchanged using device-twin configuration stored in the </a:t>
                </a:r>
                <a:r>
                  <a:rPr lang="en-GB" kern="0" dirty="0" err="1">
                    <a:gradFill>
                      <a:gsLst>
                        <a:gs pos="2917">
                          <a:srgbClr val="FFFFFF"/>
                        </a:gs>
                        <a:gs pos="30000">
                          <a:srgbClr val="FFFFFF"/>
                        </a:gs>
                      </a:gsLst>
                      <a:lin ang="5400000" scaled="0"/>
                    </a:gradFill>
                  </a:rPr>
                  <a:t>IoT</a:t>
                </a:r>
                <a:r>
                  <a:rPr lang="en-GB" kern="0" dirty="0">
                    <a:gradFill>
                      <a:gsLst>
                        <a:gs pos="2917">
                          <a:srgbClr val="FFFFFF"/>
                        </a:gs>
                        <a:gs pos="30000">
                          <a:srgbClr val="FFFFFF"/>
                        </a:gs>
                      </a:gsLst>
                      <a:lin ang="5400000" scaled="0"/>
                    </a:gradFill>
                  </a:rPr>
                  <a:t> Hub.</a:t>
                </a:r>
              </a:p>
            </p:txBody>
          </p:sp>
        </p:grpSp>
        <p:sp>
          <p:nvSpPr>
            <p:cNvPr id="56" name="Frame 5"/>
            <p:cNvSpPr>
              <a:spLocks noChangeAspect="1"/>
            </p:cNvSpPr>
            <p:nvPr/>
          </p:nvSpPr>
          <p:spPr bwMode="auto">
            <a:xfrm>
              <a:off x="-3601686" y="1485604"/>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7525" tIns="53763" rIns="53763" bIns="107525" numCol="1" spcCol="0" rtlCol="0" fromWordArt="0" anchor="b" anchorCtr="0" forceAA="0" compatLnSpc="1">
              <a:prstTxWarp prst="textNoShape">
                <a:avLst/>
              </a:prstTxWarp>
              <a:noAutofit/>
            </a:bodyPr>
            <a:lstStyle/>
            <a:p>
              <a:pPr algn="ctr" defTabSz="1074690"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rot="10800000">
              <a:off x="-3641382" y="3755938"/>
              <a:ext cx="818085" cy="818085"/>
            </a:xfrm>
            <a:prstGeom prst="rect">
              <a:avLst/>
            </a:prstGeom>
          </p:spPr>
        </p:pic>
        <p:sp>
          <p:nvSpPr>
            <p:cNvPr id="7" name="Arrow: Up-Down 6">
              <a:extLst>
                <a:ext uri="{FF2B5EF4-FFF2-40B4-BE49-F238E27FC236}">
                  <a16:creationId xmlns:a16="http://schemas.microsoft.com/office/drawing/2014/main" id="{B358D53D-3822-401B-A839-4BCB4D9FE937}"/>
                </a:ext>
              </a:extLst>
            </p:cNvPr>
            <p:cNvSpPr/>
            <p:nvPr/>
          </p:nvSpPr>
          <p:spPr bwMode="auto">
            <a:xfrm>
              <a:off x="-3497792" y="2352401"/>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a:endParaRPr lang="sv-SE" sz="2000" dirty="0">
                <a:gradFill>
                  <a:gsLst>
                    <a:gs pos="16814">
                      <a:srgbClr val="FFFFFF"/>
                    </a:gs>
                    <a:gs pos="46000">
                      <a:srgbClr val="FFFFFF"/>
                    </a:gs>
                  </a:gsLst>
                  <a:lin ang="5400000" scaled="0"/>
                </a:gradFill>
              </a:endParaRPr>
            </a:p>
          </p:txBody>
        </p:sp>
      </p:grpSp>
    </p:spTree>
    <p:extLst>
      <p:ext uri="{BB962C8B-B14F-4D97-AF65-F5344CB8AC3E}">
        <p14:creationId xmlns:p14="http://schemas.microsoft.com/office/powerpoint/2010/main" val="832926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This deck provides level 200 technical content for Microsoft Azure IoT Hub.
</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k20e0dfa74bf4e44818db03027b0ccd8 xmlns="230e9df3-be65-4c73-a93b-d1236ebd677e">
      <Terms xmlns="http://schemas.microsoft.com/office/infopath/2007/PartnerControls"/>
    </k20e0dfa74bf4e44818db03027b0ccd8>
    <od9986d31974458fb3007746ec0bce5f xmlns="230e9df3-be65-4c73-a93b-d1236ebd677e">
      <Terms xmlns="http://schemas.microsoft.com/office/infopath/2007/PartnerControls"/>
    </od9986d31974458fb3007746ec0bce5f>
    <Owner xmlns="230e9df3-be65-4c73-a93b-d1236ebd677e">
      <UserInfo>
        <DisplayName>Bharat Sandhu</DisplayName>
        <AccountId>226</AccountId>
        <AccountType/>
      </UserInfo>
    </Owner>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Internet of Things Domain</TermName>
          <TermId xmlns="http://schemas.microsoft.com/office/infopath/2007/PartnerControls">34685f97-aa46-4d4d-881b-c9a2cde63bef</TermId>
        </TermInfo>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s>
    </eb54ac91059940029a3cc8a4ff5af673>
    <PublishingPageContent xmlns="http://schemas.microsoft.com/sharepoint/v3" xsi:nil="true"/>
    <ef109fd36bcf4bcd9dd945731030600b xmlns="230e9df3-be65-4c73-a93b-d1236ebd677e">
      <Terms xmlns="http://schemas.microsoft.com/office/infopath/2007/PartnerControls"/>
    </ef109fd36bcf4bcd9dd945731030600b>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KC02-23-82490/Microsoft%20Azure%20IoT%20Hub_L200%20Technical%20deck%20(Customer%20facing).png</Url>
      <Description>https://microsoft.sharepoint.com/sites/Infopedia_G01KC/Media/Thumbnails/KC02-23-82490/Microsoft%20Azure%20IoT%20Hub_L200%20Technical%20deck%20(Customer%20facing).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Cloud Platform (solution)</TermName>
          <TermId xmlns="http://schemas.microsoft.com/office/infopath/2007/PartnerControls">8e62087a-5af4-429b-974d-d6aee352a28f</TermId>
        </TermInfo>
        <TermInfo xmlns="http://schemas.microsoft.com/office/infopath/2007/PartnerControls">
          <TermName xmlns="http://schemas.microsoft.com/office/infopath/2007/PartnerControls">New Conversation</TermName>
          <TermId xmlns="http://schemas.microsoft.com/office/infopath/2007/PartnerControls">5ae50351-4e19-465d-a34a-e592b7a56769</TermId>
        </TermInfo>
        <TermInfo xmlns="http://schemas.microsoft.com/office/infopath/2007/PartnerControls">
          <TermName xmlns="http://schemas.microsoft.com/office/infopath/2007/PartnerControls">Internet of Your Things</TermName>
          <TermId xmlns="http://schemas.microsoft.com/office/infopath/2007/PartnerControls">cb3354bd-6d29-4656-83fb-4e192665ca2b</TermId>
        </TermInfo>
      </Terms>
    </i0d941ee1e744ffea7aeee9924c91cbb>
    <PublishingExpirationDate xmlns="http://schemas.microsoft.com/sharepoint/v3" xsi:nil="true"/>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TaxCatchAll xmlns="230e9df3-be65-4c73-a93b-d1236ebd677e">
      <Value>164</Value>
      <Value>165</Value>
      <Value>14</Value>
      <Value>80</Value>
      <Value>351</Value>
      <Value>382</Value>
      <Value>294</Value>
      <Value>21</Value>
      <Value>342</Value>
    </TaxCatchAll>
    <mb88723863e1404388ba3733387d48df xmlns="230e9df3-be65-4c73-a93b-d1236ebd677e">
      <Terms xmlns="http://schemas.microsoft.com/office/infopath/2007/PartnerControls"/>
    </mb88723863e1404388ba3733387d48df>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Microsoft Azure platform</TermName>
          <TermId xmlns="http://schemas.microsoft.com/office/infopath/2007/PartnerControls">df6aaec2-d07c-4319-b510-15a691aea35b</TermId>
        </TermInfo>
      </Terms>
    </m6c7b4717b6346e6a075a59dd47eac69>
    <_dlc_DocId xmlns="230e9df3-be65-4c73-a93b-d1236ebd677e">G01KC-99682991-15227</_dlc_DocId>
    <_dlc_DocIdUrl xmlns="230e9df3-be65-4c73-a93b-d1236ebd677e">
      <Url>https://microsoft.sharepoint.com/sites/Infopedia_G01KC/_layouts/15/DocIdRedir.aspx?ID=G01KC-99682991-15227</Url>
      <Description>G01KC-99682991-15227</Description>
    </_dlc_DocIdUrl>
    <AverageRating xmlns="http://schemas.microsoft.com/sharepoint/v3" xsi:nil="true"/>
    <ApplyWorkflowRules xmlns="230E9DF3-BE65-4C73-A93B-D1236EBD677E">Yes</ApplyWorkflowRules>
    <PublishDate xmlns="230E9DF3-BE65-4C73-A93B-D1236EBD677E" xsi:nil="true"/>
    <GenericHTML1 xmlns="230e9df3-be65-4c73-a93b-d1236ebd677e" xsi:nil="true"/>
    <Blog_x0020_Name xmlns="230e9df3-be65-4c73-a93b-d1236ebd677e" xsi:nil="true"/>
    <ContentID xmlns="230e9df3-be65-4c73-a93b-d1236ebd677e">KC02-23-82500</ContentID>
    <Coowner xmlns="230e9df3-be65-4c73-a93b-d1236ebd677e">
      <UserInfo>
        <DisplayName>i:0#.f|membership|v-pebouc@microsoft.com</DisplayName>
        <AccountId>124</AccountId>
        <AccountType/>
      </UserInfo>
      <UserInfo>
        <DisplayName>i:0#.f|membership|v-danaja@microsoft.com</DisplayName>
        <AccountId>176</AccountId>
        <AccountType/>
      </UserInfo>
      <UserInfo>
        <DisplayName>i:0#.f|membership|v-anmarv@microsoft.com</DisplayName>
        <AccountId>45</AccountId>
        <AccountType/>
      </UserInfo>
      <UserInfo>
        <DisplayName>i:0#.f|membership|v-locon@microsoft.com</DisplayName>
        <AccountId>4605</AccountId>
        <AccountType/>
      </UserInfo>
    </Coowner>
    <RatingCount xmlns="http://schemas.microsoft.com/sharepoint/v3" xsi:nil="true"/>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GenericText2 xmlns="230e9df3-be65-4c73-a93b-d1236ebd677e">G01KC-1-10659 KC02-23-82490</GenericText2>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ODSWF2_x0028_1_x0029_ xmlns="b3bc04a5-d503-43b1-b98c-a8cf663329d9">
      <Url xsi:nil="true"/>
      <Description xsi:nil="true"/>
    </ODSWF2_x0028_1_x0029_>
    <ODSWF2 xmlns="b3bc04a5-d503-43b1-b98c-a8cf663329d9">
      <Url xsi:nil="true"/>
      <Description xsi:nil="true"/>
    </ODSWF2>
    <ODSWF_x0028_1_x0029_ xmlns="b3bc04a5-d503-43b1-b98c-a8cf663329d9">
      <Url xsi:nil="true"/>
      <Description xsi:nil="true"/>
    </ODSWF_x0028_1_x0029_>
    <ODSWF_x0028_1_x0029_0 xmlns="b3bc04a5-d503-43b1-b98c-a8cf663329d9">
      <Url xsi:nil="true"/>
      <Description xsi:nil="true"/>
    </ODSWF_x0028_1_x0029_0>
    <Update_x0020_Parent_x0020_Child_x0020_Relation_x0028_1_x0029_1 xmlns="b3bc04a5-d503-43b1-b98c-a8cf663329d9">
      <Url xsi:nil="true"/>
      <Description xsi:nil="true"/>
    </Update_x0020_Parent_x0020_Child_x0020_Relation_x0028_1_x0029_1>
    <ODSWF1 xmlns="b3bc04a5-d503-43b1-b98c-a8cf663329d9">
      <Url xsi:nil="true"/>
      <Description xsi:nil="true"/>
    </ODSWF1>
    <ODSWF2_x0028_1_x0029_0 xmlns="b3bc04a5-d503-43b1-b98c-a8cf663329d9">
      <Url xsi:nil="true"/>
      <Description xsi:nil="true"/>
    </ODSWF2_x0028_1_x0029_0>
    <ODSWF_x0028_1_x0029_1 xmlns="b3bc04a5-d503-43b1-b98c-a8cf663329d9">
      <Url xsi:nil="true"/>
      <Description xsi:nil="true"/>
    </ODSWF_x0028_1_x0029_1>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48" ma:contentTypeDescription="A document content type used by Infopedia." ma:contentTypeScope="" ma:versionID="9ba619dd261563bd5d6ea70122cbd502">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6b687f397214d6103d792076ec318daf"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element ref="ns4:ODSWF2" minOccurs="0"/>
                <xsd:element ref="ns4:Update_x0020_Parent_x0020_Child_x0020_Relation_x0028_1_x0029_1" minOccurs="0"/>
                <xsd:element ref="ns4:ODSWF_x0028_1_x0029_" minOccurs="0"/>
                <xsd:element ref="ns4:ODSWF2_x0028_1_x0029_" minOccurs="0"/>
                <xsd:element ref="ns4:ODSWF_x0028_1_x0029_0" minOccurs="0"/>
                <xsd:element ref="ns4:ODSWF_x0028_1_x0029_1" minOccurs="0"/>
                <xsd:element ref="ns4:ODSWF1" minOccurs="0"/>
                <xsd:element ref="ns4:ODSWF2_x0028_1_x0029_0"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2" ma:index="73" nillable="true" ma:displayName="ODSWF2" ma:internalName="ODSWF2">
      <xsd:complexType>
        <xsd:complexContent>
          <xsd:extension base="dms:URL">
            <xsd:sequence>
              <xsd:element name="Url" type="dms:ValidUrl" minOccurs="0" nillable="true"/>
              <xsd:element name="Description" type="xsd:string" nillable="true"/>
            </xsd:sequence>
          </xsd:extension>
        </xsd:complexContent>
      </xsd:complexType>
    </xsd:element>
    <xsd:element name="Update_x0020_Parent_x0020_Child_x0020_Relation_x0028_1_x0029_1" ma:index="74" nillable="true" ma:displayName="Update Parent Child Relation" ma:internalName="Update_x0020_Parent_x0020_Child_x0020_Relation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 ma:index="75" nillable="true" ma:displayName="ODSWF" ma:internalName="ODSWF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 ma:index="76" nillable="true" ma:displayName="ODSWF2" ma:internalName="ODSWF2_x0028_1_x0029_">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0" ma:index="77" nillable="true" ma:displayName="ODSWF" ma:internalName="ODSWF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ODSWF_x0028_1_x0029_1" ma:index="78" nillable="true" ma:displayName="ODSWF" ma:internalName="ODSWF_x0028_1_x0029_1">
      <xsd:complexType>
        <xsd:complexContent>
          <xsd:extension base="dms:URL">
            <xsd:sequence>
              <xsd:element name="Url" type="dms:ValidUrl" minOccurs="0" nillable="true"/>
              <xsd:element name="Description" type="xsd:string" nillable="true"/>
            </xsd:sequence>
          </xsd:extension>
        </xsd:complexContent>
      </xsd:complexType>
    </xsd:element>
    <xsd:element name="ODSWF1" ma:index="79" nillable="true" ma:displayName="ODSWF1" ma:internalName="ODSWF1">
      <xsd:complexType>
        <xsd:complexContent>
          <xsd:extension base="dms:URL">
            <xsd:sequence>
              <xsd:element name="Url" type="dms:ValidUrl" minOccurs="0" nillable="true"/>
              <xsd:element name="Description" type="xsd:string" nillable="true"/>
            </xsd:sequence>
          </xsd:extension>
        </xsd:complexContent>
      </xsd:complexType>
    </xsd:element>
    <xsd:element name="ODSWF2_x0028_1_x0029_0" ma:index="80" nillable="true" ma:displayName="ODSWF2" ma:internalName="ODSWF2_x0028_1_x0029_0">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1" nillable="true" ma:displayName="MediaServiceMetadata" ma:description="" ma:hidden="true" ma:internalName="MediaServiceMetadata" ma:readOnly="true">
      <xsd:simpleType>
        <xsd:restriction base="dms:Note"/>
      </xsd:simpleType>
    </xsd:element>
    <xsd:element name="MediaServiceFastMetadata" ma:index="82"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D0DE92-1F8F-4343-B74D-EAF29145FCB7}">
  <ds:schemaRefs>
    <ds:schemaRef ds:uri="http://schemas.microsoft.com/sharepoint/v3/contenttype/forms"/>
  </ds:schemaRefs>
</ds:datastoreItem>
</file>

<file path=customXml/itemProps2.xml><?xml version="1.0" encoding="utf-8"?>
<ds:datastoreItem xmlns:ds="http://schemas.openxmlformats.org/officeDocument/2006/customXml" ds:itemID="{A63E41B3-25E6-465A-9576-E6B2B45AE0F2}">
  <ds:schemaRefs>
    <ds:schemaRef ds:uri="2478d1b8-79bf-461f-b8e8-704d21601f1a"/>
    <ds:schemaRef ds:uri="http://purl.org/dc/elements/1.1/"/>
    <ds:schemaRef ds:uri="http://schemas.microsoft.com/office/2006/metadata/properties"/>
    <ds:schemaRef ds:uri="b3bc04a5-d503-43b1-b98c-a8cf663329d9"/>
    <ds:schemaRef ds:uri="http://schemas.microsoft.com/sharepoint/v3"/>
    <ds:schemaRef ds:uri="http://schemas.microsoft.com/office/infopath/2007/PartnerControls"/>
    <ds:schemaRef ds:uri="http://purl.org/dc/terms/"/>
    <ds:schemaRef ds:uri="http://schemas.openxmlformats.org/package/2006/metadata/core-properties"/>
    <ds:schemaRef ds:uri="230e9df3-be65-4c73-a93b-d1236ebd677e"/>
    <ds:schemaRef ds:uri="http://schemas.microsoft.com/office/2006/documentManagement/type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572948CB-DFFB-4F66-A264-81D7C54282C9}">
  <ds:schemaRefs>
    <ds:schemaRef ds:uri="http://schemas.microsoft.com/sharepoint/events"/>
  </ds:schemaRefs>
</ds:datastoreItem>
</file>

<file path=customXml/itemProps4.xml><?xml version="1.0" encoding="utf-8"?>
<ds:datastoreItem xmlns:ds="http://schemas.openxmlformats.org/officeDocument/2006/customXml" ds:itemID="{E798F2F4-BE5E-4B49-9162-76AA7BF1E404}">
  <ds:schemaRefs>
    <ds:schemaRef ds:uri="Microsoft.SharePoint.Taxonomy.ContentTypeSync"/>
  </ds:schemaRefs>
</ds:datastoreItem>
</file>

<file path=customXml/itemProps5.xml><?xml version="1.0" encoding="utf-8"?>
<ds:datastoreItem xmlns:ds="http://schemas.openxmlformats.org/officeDocument/2006/customXml" ds:itemID="{ADA76B43-B089-4556-9A10-4D94967394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696</TotalTime>
  <Words>4765</Words>
  <Application>Microsoft Office PowerPoint</Application>
  <PresentationFormat>Custom</PresentationFormat>
  <Paragraphs>514</Paragraphs>
  <Slides>26</Slides>
  <Notes>25</Notes>
  <HiddenSlides>1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9" baseType="lpstr">
      <vt:lpstr>MS PGothic</vt:lpstr>
      <vt:lpstr>MS PGothic</vt:lpstr>
      <vt:lpstr>Arial</vt:lpstr>
      <vt:lpstr>Courier New</vt:lpstr>
      <vt:lpstr>OCR A Extended</vt:lpstr>
      <vt:lpstr>Segoe Semibold</vt:lpstr>
      <vt:lpstr>Segoe UI</vt:lpstr>
      <vt:lpstr>Segoe UI Light</vt:lpstr>
      <vt:lpstr>Segoe UI Semibold</vt:lpstr>
      <vt:lpstr>Webdings</vt:lpstr>
      <vt:lpstr>Wingdings</vt:lpstr>
      <vt:lpstr>8_3-30680_Worldwide Partner Conference 2015 </vt:lpstr>
      <vt:lpstr>think-cell Slide</vt:lpstr>
      <vt:lpstr>PowerPoint Presentation</vt:lpstr>
      <vt:lpstr>Elements of Azure IoT Suite </vt:lpstr>
      <vt:lpstr>PowerPoint Presentation</vt:lpstr>
      <vt:lpstr>IOT Solution Architecture</vt:lpstr>
      <vt:lpstr>Introducing Microsoft Azure IoT Hub</vt:lpstr>
      <vt:lpstr>IOT Solution Architecture</vt:lpstr>
      <vt:lpstr>Why use IoT Hub?</vt:lpstr>
      <vt:lpstr>Information Exchange Patterns Basics of IoT Communication</vt:lpstr>
      <vt:lpstr>Information Exchange Patterns Basics of IoT Communication</vt:lpstr>
      <vt:lpstr>Device Management – Device Twins</vt:lpstr>
      <vt:lpstr>Device Management – Device Twins</vt:lpstr>
      <vt:lpstr>Device Management Patterns - Reboot</vt:lpstr>
      <vt:lpstr>Device Management Patterns – Factory Reset</vt:lpstr>
      <vt:lpstr>Device Management Patterns – Configuration</vt:lpstr>
      <vt:lpstr>Communication Patterns – Device to Cloud</vt:lpstr>
      <vt:lpstr>Communication Patterns – Cloud to Device</vt:lpstr>
      <vt:lpstr>IoT Hub endpoints</vt:lpstr>
      <vt:lpstr>Azure IoT SDKs</vt:lpstr>
      <vt:lpstr>Azure IoT Services</vt:lpstr>
      <vt:lpstr>A sample scenario</vt:lpstr>
      <vt:lpstr>IoT Hub helps connect your devices to Azure </vt:lpstr>
      <vt:lpstr>PowerPoint Presentation</vt:lpstr>
      <vt:lpstr>Remote monitoring preconfigured solution</vt:lpstr>
      <vt:lpstr>Predictive maintenance solution</vt:lpstr>
      <vt:lpstr>Azure Portal</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IoT Hub L200 Technical deck (Customer facing)</dc:title>
  <dc:subject>&lt;Speech title here&gt;</dc:subject>
  <dc:creator>&lt;Speaker name here&gt;</dc:creator>
  <cp:keywords/>
  <dc:description>Template: Maryfj_x000d_
Formatting: _x000d_
Audience Type:</dc:description>
  <cp:lastModifiedBy>Mikael Håkansson</cp:lastModifiedBy>
  <cp:revision>450</cp:revision>
  <cp:lastPrinted>2017-06-01T00:38:32Z</cp:lastPrinted>
  <dcterms:created xsi:type="dcterms:W3CDTF">2014-06-10T19:28:25Z</dcterms:created>
  <dcterms:modified xsi:type="dcterms:W3CDTF">2017-06-07T08:5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PublishingExpirationDate">
    <vt:lpwstr/>
  </property>
  <property fmtid="{D5CDD505-2E9C-101B-9397-08002B2CF9AE}" pid="12" name="PublishingStartDate">
    <vt:lpwstr/>
  </property>
  <property fmtid="{D5CDD505-2E9C-101B-9397-08002B2CF9AE}" pid="13" name="TaxKeyword">
    <vt:lpwstr/>
  </property>
  <property fmtid="{D5CDD505-2E9C-101B-9397-08002B2CF9AE}" pid="14" name="Audiences">
    <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ndustries">
    <vt:lpwstr/>
  </property>
  <property fmtid="{D5CDD505-2E9C-101B-9397-08002B2CF9AE}" pid="18" name="Roles">
    <vt:lpwstr/>
  </property>
  <property fmtid="{D5CDD505-2E9C-101B-9397-08002B2CF9AE}" pid="19" name="Competitors">
    <vt:lpwstr/>
  </property>
  <property fmtid="{D5CDD505-2E9C-101B-9397-08002B2CF9AE}" pid="20" name="SMSGDomain">
    <vt:lpwstr>294;#Internet of Things Domain|34685f97-aa46-4d4d-881b-c9a2cde63bef;#21;#Cloud and Enterprise|adc2fe87-c79a-4ded-a449-3f86b954069d</vt:lpwstr>
  </property>
  <property fmtid="{D5CDD505-2E9C-101B-9397-08002B2CF9AE}" pid="21" name="BusinessArchitecture">
    <vt:lpwstr>164;#Cloud Platform (solution)|8e62087a-5af4-429b-974d-d6aee352a28f;#165;#New Conversation|5ae50351-4e19-465d-a34a-e592b7a56769;#382;#Internet of Your Things|cb3354bd-6d29-4656-83fb-4e192665ca2b</vt:lpwstr>
  </property>
  <property fmtid="{D5CDD505-2E9C-101B-9397-08002B2CF9AE}" pid="22" name="Products">
    <vt:lpwstr>80;#Microsoft Azure platform|df6aaec2-d07c-4319-b510-15a691aea35b</vt:lpwstr>
  </property>
  <property fmtid="{D5CDD505-2E9C-101B-9397-08002B2CF9AE}" pid="23" name="ActivitiesAndPrograms">
    <vt:lpwstr/>
  </property>
  <property fmtid="{D5CDD505-2E9C-101B-9397-08002B2CF9AE}" pid="24" name="Segments">
    <vt:lpwstr/>
  </property>
  <property fmtid="{D5CDD505-2E9C-101B-9397-08002B2CF9AE}" pid="25" name="Partners">
    <vt:lpwstr/>
  </property>
  <property fmtid="{D5CDD505-2E9C-101B-9397-08002B2CF9AE}" pid="26" name="Topics">
    <vt:lpwstr>342;#Microsoft Azure platform|df6aaec2-d07c-4319-b510-15a691aea35b</vt:lpwstr>
  </property>
  <property fmtid="{D5CDD505-2E9C-101B-9397-08002B2CF9AE}" pid="27" name="Groups">
    <vt:lpwstr/>
  </property>
  <property fmtid="{D5CDD505-2E9C-101B-9397-08002B2CF9AE}" pid="28" name="_dlc_policyId">
    <vt:lpwstr/>
  </property>
  <property fmtid="{D5CDD505-2E9C-101B-9397-08002B2CF9AE}" pid="29" name="ItemRetentionFormula">
    <vt:lpwstr/>
  </property>
  <property fmtid="{D5CDD505-2E9C-101B-9397-08002B2CF9AE}" pid="30" name="_dlc_DocIdItemGuid">
    <vt:lpwstr>4820fac5-d1ee-499b-9484-66d3f376752d</vt:lpwstr>
  </property>
  <property fmtid="{D5CDD505-2E9C-101B-9397-08002B2CF9AE}" pid="31" name="p1cd454bacc149bfbcfd764edd279de7">
    <vt:lpwstr/>
  </property>
  <property fmtid="{D5CDD505-2E9C-101B-9397-08002B2CF9AE}" pid="32" name="ItemType">
    <vt:lpwstr>351;#feedback requests|00ce1828-98a3-430e-af54-eda270e1be04</vt:lpwstr>
  </property>
  <property fmtid="{D5CDD505-2E9C-101B-9397-08002B2CF9AE}" pid="33" name="bc28b5f076654a3b96073bbbebfeb8c9">
    <vt:lpwstr/>
  </property>
  <property fmtid="{D5CDD505-2E9C-101B-9397-08002B2CF9AE}" pid="34" name="j4d667fb28274e85b2214f6e751c8d1f">
    <vt:lpwstr/>
  </property>
  <property fmtid="{D5CDD505-2E9C-101B-9397-08002B2CF9AE}" pid="35" name="MSProducts">
    <vt:lpwstr/>
  </property>
  <property fmtid="{D5CDD505-2E9C-101B-9397-08002B2CF9AE}" pid="36" name="SMSGTags">
    <vt:lpwstr/>
  </property>
  <property fmtid="{D5CDD505-2E9C-101B-9397-08002B2CF9AE}" pid="37" name="j031aa32f4154c8c9a646efae715ebde">
    <vt:lpwstr/>
  </property>
  <property fmtid="{D5CDD505-2E9C-101B-9397-08002B2CF9AE}" pid="38" name="EnterpriseDomainTags">
    <vt:lpwstr/>
  </property>
  <property fmtid="{D5CDD505-2E9C-101B-9397-08002B2CF9AE}" pid="39" name="l311460e3fdf46688abc31ddb7bdc05a">
    <vt:lpwstr/>
  </property>
  <property fmtid="{D5CDD505-2E9C-101B-9397-08002B2CF9AE}" pid="40" name="la4444b61d19467597d63190b69ac227">
    <vt:lpwstr/>
  </property>
  <property fmtid="{D5CDD505-2E9C-101B-9397-08002B2CF9AE}" pid="41" name="MSProductsTaxHTField0">
    <vt:lpwstr/>
  </property>
  <property fmtid="{D5CDD505-2E9C-101B-9397-08002B2CF9AE}" pid="42" name="_docset_NoMedatataSyncRequired">
    <vt:lpwstr>False</vt:lpwstr>
  </property>
  <property fmtid="{D5CDD505-2E9C-101B-9397-08002B2CF9AE}" pid="43" name="Languages">
    <vt:lpwstr/>
  </property>
  <property fmtid="{D5CDD505-2E9C-101B-9397-08002B2CF9AE}" pid="44" name="messageframeworktype">
    <vt:lpwstr/>
  </property>
  <property fmtid="{D5CDD505-2E9C-101B-9397-08002B2CF9AE}" pid="45" name="MSLanguage">
    <vt:lpwstr/>
  </property>
  <property fmtid="{D5CDD505-2E9C-101B-9397-08002B2CF9AE}" pid="46" name="cb7870d3641f4a52807a63577a9c1b08">
    <vt:lpwstr/>
  </property>
  <property fmtid="{D5CDD505-2E9C-101B-9397-08002B2CF9AE}" pid="47" name="TechnicalLevel">
    <vt:lpwstr/>
  </property>
  <property fmtid="{D5CDD505-2E9C-101B-9397-08002B2CF9AE}" pid="48" name="LearningOrganization">
    <vt:lpwstr/>
  </property>
  <property fmtid="{D5CDD505-2E9C-101B-9397-08002B2CF9AE}" pid="49" name="EmployeeRole">
    <vt:lpwstr/>
  </property>
  <property fmtid="{D5CDD505-2E9C-101B-9397-08002B2CF9AE}" pid="50" name="LearningDeliveryMethod">
    <vt:lpwstr/>
  </property>
  <property fmtid="{D5CDD505-2E9C-101B-9397-08002B2CF9AE}" pid="51" name="SalesGeography">
    <vt:lpwstr/>
  </property>
  <property fmtid="{D5CDD505-2E9C-101B-9397-08002B2CF9AE}" pid="52" name="WorkflowChangePath">
    <vt:lpwstr>4c942473-d120-4286-a51a-b65ad3d92ffb,18;</vt:lpwstr>
  </property>
  <property fmtid="{D5CDD505-2E9C-101B-9397-08002B2CF9AE}" pid="53" name="ldac8aee9d1f469e8cd8c3f8d6a615f2">
    <vt:lpwstr/>
  </property>
  <property fmtid="{D5CDD505-2E9C-101B-9397-08002B2CF9AE}" pid="54" name="ContentExtensions">
    <vt:lpwstr/>
  </property>
  <property fmtid="{D5CDD505-2E9C-101B-9397-08002B2CF9AE}" pid="55" name="of67e5d4b76f4a9db8769983fda9cec0">
    <vt:lpwstr/>
  </property>
  <property fmtid="{D5CDD505-2E9C-101B-9397-08002B2CF9AE}" pid="56" name="NewsType">
    <vt:lpwstr/>
  </property>
  <property fmtid="{D5CDD505-2E9C-101B-9397-08002B2CF9AE}" pid="57" name="ga0c0bf70a6644469c61b3efa7025301">
    <vt:lpwstr/>
  </property>
  <property fmtid="{D5CDD505-2E9C-101B-9397-08002B2CF9AE}" pid="58" name="ExperienceContentType">
    <vt:lpwstr/>
  </property>
  <property fmtid="{D5CDD505-2E9C-101B-9397-08002B2CF9AE}" pid="59" name="l6f004f21209409da86a713c0f24627d">
    <vt:lpwstr/>
  </property>
  <property fmtid="{D5CDD505-2E9C-101B-9397-08002B2CF9AE}" pid="60" name="e8080b0481964c759b2c36ae49591b31">
    <vt:lpwstr/>
  </property>
  <property fmtid="{D5CDD505-2E9C-101B-9397-08002B2CF9AE}" pid="61" name="NewsTopic">
    <vt:lpwstr/>
  </property>
  <property fmtid="{D5CDD505-2E9C-101B-9397-08002B2CF9AE}" pid="62" name="NewsSource">
    <vt:lpwstr/>
  </property>
  <property fmtid="{D5CDD505-2E9C-101B-9397-08002B2CF9AE}" pid="63" name="MSPhysicalGeography">
    <vt:lpwstr/>
  </property>
  <property fmtid="{D5CDD505-2E9C-101B-9397-08002B2CF9AE}" pid="64" name="j3562c58ee414e028925bc902cfc01a1">
    <vt:lpwstr/>
  </property>
</Properties>
</file>